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74" r:id="rId4"/>
  </p:sldMasterIdLst>
  <p:notesMasterIdLst>
    <p:notesMasterId r:id="rId23"/>
  </p:notesMasterIdLst>
  <p:handoutMasterIdLst>
    <p:handoutMasterId r:id="rId24"/>
  </p:handoutMasterIdLst>
  <p:sldIdLst>
    <p:sldId id="266" r:id="rId5"/>
    <p:sldId id="2147479206" r:id="rId6"/>
    <p:sldId id="2147479223" r:id="rId7"/>
    <p:sldId id="2147479244" r:id="rId8"/>
    <p:sldId id="2147479218" r:id="rId9"/>
    <p:sldId id="2147470352" r:id="rId10"/>
    <p:sldId id="269" r:id="rId11"/>
    <p:sldId id="2147470351" r:id="rId12"/>
    <p:sldId id="2147470312" r:id="rId13"/>
    <p:sldId id="268" r:id="rId14"/>
    <p:sldId id="2147479212" r:id="rId15"/>
    <p:sldId id="403" r:id="rId16"/>
    <p:sldId id="2147479216" r:id="rId17"/>
    <p:sldId id="2147479243" r:id="rId18"/>
    <p:sldId id="2147479214" r:id="rId19"/>
    <p:sldId id="2147479198" r:id="rId20"/>
    <p:sldId id="2147479201" r:id="rId21"/>
    <p:sldId id="2147479200" r:id="rId22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9F4"/>
    <a:srgbClr val="F0F0F0"/>
    <a:srgbClr val="6C6C6C"/>
    <a:srgbClr val="000000"/>
    <a:srgbClr val="00152A"/>
    <a:srgbClr val="002346"/>
    <a:srgbClr val="00366C"/>
    <a:srgbClr val="42426A"/>
    <a:srgbClr val="3E2A5C"/>
    <a:srgbClr val="313A5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73F8A54-F971-430D-9108-034FE38666E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0000" cmpd="sng">
              <a:solidFill>
                <a:schemeClr val="dk1"/>
              </a:solidFill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50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firstCol>
    <a:lastRow>
      <a:tcTxStyle b="off">
        <a:fontRef idx="minor">
          <a:prstClr val="black"/>
        </a:fontRef>
        <a:schemeClr val="dk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2" autoAdjust="0"/>
    <p:restoredTop sz="96247" autoAdjust="0"/>
  </p:normalViewPr>
  <p:slideViewPr>
    <p:cSldViewPr snapToGrid="0">
      <p:cViewPr varScale="1">
        <p:scale>
          <a:sx n="78" d="100"/>
          <a:sy n="78" d="100"/>
        </p:scale>
        <p:origin x="104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92" y="2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bg1"/>
            </a:solidFill>
            <a:ln w="2857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bg1">
                  <a:alpha val="74000"/>
                </a:schemeClr>
              </a:solidFill>
              <a:ln w="285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2EB-4C94-BA0F-99662EFEE39A}"/>
              </c:ext>
            </c:extLst>
          </c:dPt>
          <c:dPt>
            <c:idx val="1"/>
            <c:bubble3D val="0"/>
            <c:spPr>
              <a:solidFill>
                <a:schemeClr val="bg1">
                  <a:alpha val="74000"/>
                </a:schemeClr>
              </a:solidFill>
              <a:ln w="285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2EB-4C94-BA0F-99662EFEE39A}"/>
              </c:ext>
            </c:extLst>
          </c:dPt>
          <c:dPt>
            <c:idx val="2"/>
            <c:bubble3D val="0"/>
            <c:spPr>
              <a:solidFill>
                <a:schemeClr val="bg1">
                  <a:alpha val="74000"/>
                </a:schemeClr>
              </a:solidFill>
              <a:ln w="2857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2EB-4C94-BA0F-99662EFEE39A}"/>
              </c:ext>
            </c:extLst>
          </c:dPt>
          <c:val>
            <c:numRef>
              <c:f>Sheet1!$B$2:$B$4</c:f>
              <c:numCache>
                <c:formatCode>General</c:formatCode>
                <c:ptCount val="3"/>
                <c:pt idx="0">
                  <c:v>33.332999999999998</c:v>
                </c:pt>
                <c:pt idx="1">
                  <c:v>33.332999999999998</c:v>
                </c:pt>
                <c:pt idx="2">
                  <c:v>33.33299999999999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Column1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numRef>
                    <c:extLst>
                      <c:ext uri="{02D57815-91ED-43cb-92C2-25804820EDAC}">
                        <c15:formulaRef>
                          <c15:sqref>Sheet1!$A$2:$A$4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15:cat>
              </c15:filteredCategoryTitle>
            </c:ext>
            <c:ext xmlns:c16="http://schemas.microsoft.com/office/drawing/2014/chart" uri="{C3380CC4-5D6E-409C-BE32-E72D297353CC}">
              <c16:uniqueId val="{00000006-32EB-4C94-BA0F-99662EFEE3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  <c:holeSize val="81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4/29/2024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‹#›</a:t>
            </a:fld>
            <a:endParaRPr lang="en-US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7B9B1A6A-6BBE-4409-8C9E-DA0703379151}" type="datetimeFigureOut">
              <a:rPr lang="en-US" smtClean="0"/>
              <a:pPr/>
              <a:t>4/2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83822" y="685800"/>
            <a:ext cx="6096000" cy="3429000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83822" y="4343400"/>
            <a:ext cx="6090356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fld id="{3A94E69C-C28A-4BE6-BE89-71D8FB2035F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BBvoice" panose="020D0603020503020204" pitchFamily="34" charset="0"/>
        <a:ea typeface="ABBvoice" panose="020D0603020503020204" pitchFamily="34" charset="0"/>
        <a:cs typeface="ABBvoice" panose="020D0603020503020204" pitchFamily="34" charset="0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pdated: </a:t>
            </a:r>
            <a:r>
              <a:rPr lang="en-US" dirty="0"/>
              <a:t>Q1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2745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110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B7E878-BFF5-8740-849F-66488C154E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992238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="0" i="1" dirty="0">
              <a:solidFill>
                <a:srgbClr val="2B2B2B"/>
              </a:solidFill>
              <a:effectLst/>
              <a:latin typeface="Lato" panose="020F050202020403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3662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57275" y="101600"/>
            <a:ext cx="4481513" cy="25209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75364" y="2717800"/>
            <a:ext cx="6425852" cy="6424613"/>
          </a:xfrm>
        </p:spPr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9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8072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ts val="1300"/>
              </a:lnSpc>
              <a:buFont typeface="Symbol" panose="05050102010706020507" pitchFamily="18" charset="2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8413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30484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4572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3489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6606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kern="600" dirty="0"/>
              <a:t>Library Document ID 9AKK107046A085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64519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7689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 dirty="0">
              <a:latin typeface="ABBvoic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2525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6324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3787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4E69C-C28A-4BE6-BE89-71D8FB2035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8959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1052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94E69C-C28A-4BE6-BE89-71D8FB2035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6377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334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image" Target="../media/image6.png"/><Relationship Id="rId7" Type="http://schemas.openxmlformats.org/officeDocument/2006/relationships/image" Target="../media/image10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sv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11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0D59FC1-2DB7-4455-A7C9-415B20F897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09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0D59FC1-2DB7-4455-A7C9-415B20F89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CEF554F-8B3D-4D70-A7FD-49DEFEC9C4F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" y="0"/>
            <a:ext cx="12192000" cy="4610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63" y="365752"/>
            <a:ext cx="1528942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INTERNAL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520" y="5000633"/>
            <a:ext cx="10112937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519" y="5205568"/>
            <a:ext cx="10112148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520" y="5751516"/>
            <a:ext cx="10112147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520" y="6109996"/>
            <a:ext cx="10112937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58" y="4828013"/>
            <a:ext cx="55097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 dirty="0">
                <a:solidFill>
                  <a:schemeClr val="bg2"/>
                </a:solidFill>
              </a:rPr>
              <a:t>—</a:t>
            </a: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4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6B1F5A5F-1F57-4A24-B5DE-60B2ED9BC8C7}"/>
              </a:ext>
            </a:extLst>
          </p:cNvPr>
          <p:cNvSpPr txBox="1"/>
          <p:nvPr userDrawn="1"/>
        </p:nvSpPr>
        <p:spPr bwMode="gray">
          <a:xfrm>
            <a:off x="334964" y="6495112"/>
            <a:ext cx="600869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Copyrigh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4C8EE1D-097B-4560-995B-E8866DC2AFCA}"/>
              </a:ext>
            </a:extLst>
          </p:cNvPr>
          <p:cNvSpPr txBox="1"/>
          <p:nvPr userDrawn="1"/>
        </p:nvSpPr>
        <p:spPr bwMode="gray">
          <a:xfrm>
            <a:off x="1246984" y="6494463"/>
            <a:ext cx="1321004" cy="22443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BB. All rights reserved.</a:t>
            </a:r>
          </a:p>
        </p:txBody>
      </p:sp>
      <p:sp>
        <p:nvSpPr>
          <p:cNvPr id="28" name="Text Placeholder 35">
            <a:extLst>
              <a:ext uri="{FF2B5EF4-FFF2-40B4-BE49-F238E27FC236}">
                <a16:creationId xmlns:a16="http://schemas.microsoft.com/office/drawing/2014/main" id="{7850C270-D3D8-4018-B4D3-75B91A82B4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35833" y="6494463"/>
            <a:ext cx="309561" cy="223200"/>
          </a:xfrm>
        </p:spPr>
        <p:txBody>
          <a:bodyPr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[Year]</a:t>
            </a:r>
          </a:p>
        </p:txBody>
      </p:sp>
    </p:spTree>
    <p:extLst>
      <p:ext uri="{BB962C8B-B14F-4D97-AF65-F5344CB8AC3E}">
        <p14:creationId xmlns:p14="http://schemas.microsoft.com/office/powerpoint/2010/main" val="140066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: Title (6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FA8DC24-D520-4F2D-95CF-93314013D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6668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FA8DC24-D520-4F2D-95CF-93314013D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DBA2F18-CDD4-4F74-A2C2-416BB0E3281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3B884523-397D-4A98-97E4-67EDDFF5C0AD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795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327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796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327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43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795" y="2317643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327" y="2317643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4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796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327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2934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: Title &amp;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ACDDD7-0CF4-4B44-8B79-55BAD04697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868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ACDDD7-0CF4-4B44-8B79-55BAD04697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56DA77A-830F-44BE-96B1-52171FD217E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94581CEE-BA5E-4285-B2D8-B34FEF03B01F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1492" y="1931193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3264" y="2317637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3264" y="4202644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7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4202644"/>
            <a:ext cx="1739026" cy="1710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59472" y="2317637"/>
            <a:ext cx="3757689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59472" y="4202644"/>
            <a:ext cx="3757689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2" y="2317637"/>
            <a:ext cx="3759312" cy="17100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2" y="4202644"/>
            <a:ext cx="3759312" cy="17100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 bwMode="gray">
          <a:xfrm>
            <a:off x="332368" y="4115141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364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: Title &amp; Content (8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8B317C0-75A9-482E-AA48-2FCDD05C2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5888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8B317C0-75A9-482E-AA48-2FCDD05C2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61C59CF-4F65-483F-80CF-617AF090BE0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1B33712E-3CF2-482F-B9E5-13517B7C97C5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2"/>
          <p:cNvSpPr>
            <a:spLocks noGrp="1"/>
          </p:cNvSpPr>
          <p:nvPr>
            <p:ph sz="quarter" idx="25"/>
          </p:nvPr>
        </p:nvSpPr>
        <p:spPr bwMode="gray">
          <a:xfrm>
            <a:off x="332367" y="2317637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2"/>
          <p:cNvSpPr>
            <a:spLocks noGrp="1"/>
          </p:cNvSpPr>
          <p:nvPr>
            <p:ph sz="quarter" idx="26"/>
          </p:nvPr>
        </p:nvSpPr>
        <p:spPr bwMode="gray">
          <a:xfrm>
            <a:off x="332367" y="3925788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2"/>
          <p:cNvSpPr>
            <a:spLocks noGrp="1"/>
          </p:cNvSpPr>
          <p:nvPr>
            <p:ph sz="quarter" idx="27"/>
          </p:nvPr>
        </p:nvSpPr>
        <p:spPr bwMode="gray">
          <a:xfrm>
            <a:off x="6163300" y="2317636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2"/>
          <p:cNvSpPr>
            <a:spLocks noGrp="1"/>
          </p:cNvSpPr>
          <p:nvPr>
            <p:ph sz="quarter" idx="28"/>
          </p:nvPr>
        </p:nvSpPr>
        <p:spPr bwMode="gray">
          <a:xfrm>
            <a:off x="6163300" y="3925788"/>
            <a:ext cx="1739026" cy="1436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8"/>
          </p:nvPr>
        </p:nvSpPr>
        <p:spPr bwMode="gray">
          <a:xfrm>
            <a:off x="2260483" y="2317636"/>
            <a:ext cx="3757436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2260483" y="3925788"/>
            <a:ext cx="3757436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8093953" y="2317636"/>
            <a:ext cx="3759312" cy="14364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8093953" y="3925788"/>
            <a:ext cx="3759312" cy="1436400"/>
          </a:xfrm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3264" y="5453068"/>
            <a:ext cx="115200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332368" y="3839912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219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: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DBF9A32-B60A-421B-A8C6-2B28EB595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654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DBF9A32-B60A-421B-A8C6-2B28EB595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CBD472D-1018-4A9F-A4F3-4E517EB9E2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F4064434-E0DB-45C0-856F-3A928AC17331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8" y="1931194"/>
            <a:ext cx="5603434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6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139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: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CE36112-830B-4059-98D9-D8E719E64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3612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CE36112-830B-4059-98D9-D8E719E64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7F5D363-0556-4491-9CBC-2954CA07F36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D861EEA8-6ED7-4FD9-AC5E-399274543367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343099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8" y="1931194"/>
            <a:ext cx="5603434" cy="34309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43099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8" y="5453068"/>
            <a:ext cx="11520896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428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: Title (2)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5DAF58C-7129-4B61-BB0F-3F9937E11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982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5DAF58C-7129-4B61-BB0F-3F9937E11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038B441-B13A-4594-87B6-2BA7E97EE55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B7A8DB10-9BF6-4473-AAA1-9EA8F472E094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43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43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2317638"/>
            <a:ext cx="5604420" cy="3594474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8" y="2317638"/>
            <a:ext cx="5603434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276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: Title (2) &amp; Content (2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1FEE7C0-BEE7-43A5-B55D-3201B69BCE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251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1FEE7C0-BEE7-43A5-B55D-3201B69BCE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45F345A-B582-4958-9B85-A906B5689D2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1AFBA867-7789-4C43-8AB0-0B2878D8DE6F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2365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6248327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327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327" y="2317638"/>
            <a:ext cx="5605200" cy="295097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5" y="2317638"/>
            <a:ext cx="5605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583" y="5453068"/>
            <a:ext cx="11520682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511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: Title &amp; 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CD97A66-677F-4899-B0D5-3032ED5909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666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CD97A66-677F-4899-B0D5-3032ED5909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5D01C3-9BE9-43FB-BB4E-01AB1496B31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B0EFA936-28E9-42DC-A924-CB516818427B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2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8045" y="1931195"/>
            <a:ext cx="560520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2317642"/>
            <a:ext cx="5605200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4" name="Straight Connector 23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86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: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8EC0B5-90CB-49A8-854F-4D664A934E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255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8EC0B5-90CB-49A8-854F-4D664A934E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3189AB9-7CE0-4A3F-952B-404A11988DF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BF92F29D-EA39-49E1-8C36-4F99E173F1C6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49107" y="1931194"/>
            <a:ext cx="5604420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68" y="1931194"/>
            <a:ext cx="5603434" cy="398091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49107" y="3989616"/>
            <a:ext cx="5604420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751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: Title (3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D4AA811-9405-4B82-9ED6-E95DA993BB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222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D4AA811-9405-4B82-9ED6-E95DA993BB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4CEA99-8FDE-4E46-A23B-47FA6387A48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404510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5" y="2318323"/>
            <a:ext cx="560520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42"/>
            <a:ext cx="5605200" cy="35951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66B8F505-684D-4A1B-8221-D6522F8976E6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4432237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9" y="1085213"/>
            <a:ext cx="11521159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277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: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3B411DA-C5CD-4178-B7D5-6C7F074266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251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3B411DA-C5CD-4178-B7D5-6C7F074266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B1ABF33-682A-4447-A6B1-67F8C7CE7BA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" y="0"/>
            <a:ext cx="12198845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4DE7E8-58C9-4B5A-B686-53E1B76B68C9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 dirty="0">
                <a:solidFill>
                  <a:schemeClr val="bg1"/>
                </a:solidFill>
              </a:rPr>
              <a:t>—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6BA06A1-F808-4CBA-9D28-8D357F795D4C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7CD425E-9028-4049-A9A0-DC6F9DF08061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8" y="1264009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0297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: Title (3) &amp; Content (3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346AEEE-DFDF-46BE-84ED-40C99B3A7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7745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346AEEE-DFDF-46BE-84ED-40C99B3A7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37490D-6B4D-475F-8593-E12EC549EE2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7" y="5452639"/>
            <a:ext cx="11520877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6248043" y="2317643"/>
            <a:ext cx="560520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7"/>
            <a:ext cx="5605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6248043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3" y="383124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AFEB7575-D3D0-4652-BA3A-0CCCCCFCBFB4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6248043" y="223849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3" y="4135561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3" y="4214709"/>
            <a:ext cx="5605200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6095999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528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: Title &amp; Content (2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8567E51-EE65-489B-9477-DA89D8EC8A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152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8567E51-EE65-489B-9477-DA89D8EC8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D935E17-474B-4155-BF0E-0302964F3E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C316BD20-B884-4AFE-AD41-0CFDA4A22B89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582" y="1931195"/>
            <a:ext cx="206420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700027" y="1931195"/>
            <a:ext cx="9153500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582" y="2317642"/>
            <a:ext cx="2064201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984" y="2238495"/>
            <a:ext cx="2062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2548405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017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: Title &amp; Content (2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A9345B7-974B-4CCA-970A-5169B7E981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2548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A9345B7-974B-4CCA-970A-5169B7E981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A1C9BEC-916A-4B97-8333-094DED1B87E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56E15E2C-8566-4D33-8B8A-F0E4E6EF657A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5" y="1931195"/>
            <a:ext cx="409376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724929" y="1931195"/>
            <a:ext cx="7128598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3" y="2317642"/>
            <a:ext cx="4093767" cy="359447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6" name="Straight Connector 15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6" name="Straight Connector 25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36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: Title (3) &amp; Content (3)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D8F6AF4-EDE4-422E-8F06-9473E9695F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621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D8F6AF4-EDE4-422E-8F06-9473E9695F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22FE945-9BD3-41BE-8235-39B6CAF908D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409376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454" y="1931194"/>
            <a:ext cx="712881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454" y="4042705"/>
            <a:ext cx="7128811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454" y="2317638"/>
            <a:ext cx="7128811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4094665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DAF52ABA-CCDF-416F-BC1D-949357AD8904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9"/>
          <p:cNvCxnSpPr/>
          <p:nvPr userDrawn="1"/>
        </p:nvCxnSpPr>
        <p:spPr bwMode="gray">
          <a:xfrm>
            <a:off x="4725264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4725264" y="4349421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454" y="4428564"/>
            <a:ext cx="7128811" cy="148354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7" name="Straight Connector 36"/>
          <p:cNvCxnSpPr/>
          <p:nvPr userDrawn="1"/>
        </p:nvCxnSpPr>
        <p:spPr bwMode="gray">
          <a:xfrm>
            <a:off x="4575980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64329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: Title (3) &amp; Content (3) &amp; Bo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144DAE1-D5AF-4D3B-99CC-8DDCDE8D9C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2537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144DAE1-D5AF-4D3B-99CC-8DDCDE8D9C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030E1-89D8-4E65-9CB8-D79D6CF7407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457598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332367" y="5452639"/>
            <a:ext cx="11521161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4724931" y="2317643"/>
            <a:ext cx="7128597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5" y="2317640"/>
            <a:ext cx="4094664" cy="295097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3"/>
            <a:ext cx="4094664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724931" y="1931193"/>
            <a:ext cx="712929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4724931" y="3831247"/>
            <a:ext cx="7129297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EB90D3A7-6A39-47F0-89AD-C5552FB72721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4724931" y="4214709"/>
            <a:ext cx="7128597" cy="105391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9"/>
          <p:cNvCxnSpPr/>
          <p:nvPr userDrawn="1"/>
        </p:nvCxnSpPr>
        <p:spPr bwMode="gray">
          <a:xfrm>
            <a:off x="4724930" y="2238495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4727528" y="4136597"/>
            <a:ext cx="712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45" name="Straight Connector 44"/>
          <p:cNvCxnSpPr/>
          <p:nvPr userDrawn="1"/>
        </p:nvCxnSpPr>
        <p:spPr bwMode="gray">
          <a:xfrm>
            <a:off x="333264" y="2238495"/>
            <a:ext cx="409376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374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: Title (3) &amp;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4AF8AD-7F86-4C81-BB1E-C94F5D7BAB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57388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54AF8AD-7F86-4C81-BB1E-C94F5D7BAB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DD53216-8E7A-424B-AE22-A94CAFAADE7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6DA2D124-73B0-4741-87DD-F31F2F07034A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186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5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7186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186"/>
            <a:ext cx="3643200" cy="359493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4124130" y="2388388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062662" y="2388388"/>
            <a:ext cx="0" cy="352664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67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: Title (3) &amp; Content (3) &amp; Bo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DA03257-3164-4EC8-8DDC-6540384F57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7370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DA03257-3164-4EC8-8DDC-6540384F5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B793CB0-254C-4991-931F-E67869058838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3265" y="5452639"/>
            <a:ext cx="11520263" cy="460800"/>
          </a:xfrm>
          <a:solidFill>
            <a:schemeClr val="accent3"/>
          </a:solidFill>
        </p:spPr>
        <p:txBody>
          <a:bodyPr anchor="ctr"/>
          <a:lstStyle>
            <a:lvl1pPr marL="7938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3A46C1E4-1331-4E6B-BF6E-3D51AEFDB956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5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4" name="Straight Connector 33"/>
          <p:cNvCxnSpPr/>
          <p:nvPr userDrawn="1"/>
        </p:nvCxnSpPr>
        <p:spPr bwMode="gray">
          <a:xfrm>
            <a:off x="4124130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062661" y="2388842"/>
            <a:ext cx="0" cy="28797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565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: Title (3) &amp; Content (3)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01D97D0-0C08-49FC-BC5C-E44927E9CC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131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01D97D0-0C08-49FC-BC5C-E44927E9CC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5AF69E4-D0D9-4DC2-AFAC-2DF6321F889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AFA29958-A3CB-4945-A597-6BC8C2DCFC01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31831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917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8318"/>
            <a:ext cx="3643200" cy="35937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Gleichschenkliges Dreieck 46"/>
          <p:cNvSpPr/>
          <p:nvPr userDrawn="1"/>
        </p:nvSpPr>
        <p:spPr bwMode="gray">
          <a:xfrm rot="5400000">
            <a:off x="6301201" y="4088360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2362816" y="4091269"/>
            <a:ext cx="3522591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88695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: Title (3) &amp; Content (3) &amp; Box 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618517-2989-445C-BD46-83D18D9DF5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641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618517-2989-445C-BD46-83D18D9DF5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BCDFB5F-1102-41F8-9F73-334C44C0F3D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D20E203C-06FF-4581-A07C-EFC97E84676E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5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317638"/>
            <a:ext cx="3643200" cy="2950978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8"/>
          </p:nvPr>
        </p:nvSpPr>
        <p:spPr bwMode="gray">
          <a:xfrm>
            <a:off x="332582" y="5452639"/>
            <a:ext cx="11520683" cy="460800"/>
          </a:xfrm>
          <a:solidFill>
            <a:schemeClr val="accent3"/>
          </a:solidFill>
        </p:spPr>
        <p:txBody>
          <a:bodyPr anchor="ctr"/>
          <a:lstStyle>
            <a:lvl1pPr marL="7938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9" name="Gleichschenkliges Dreieck 46"/>
          <p:cNvSpPr/>
          <p:nvPr userDrawn="1"/>
        </p:nvSpPr>
        <p:spPr bwMode="gray">
          <a:xfrm rot="5400000">
            <a:off x="6622950" y="3766612"/>
            <a:ext cx="2879092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24" name="Gleichschenkliges Dreieck 46"/>
          <p:cNvSpPr/>
          <p:nvPr userDrawn="1"/>
        </p:nvSpPr>
        <p:spPr bwMode="gray">
          <a:xfrm rot="5400000">
            <a:off x="2684565" y="3769521"/>
            <a:ext cx="2879093" cy="124922"/>
          </a:xfrm>
          <a:prstGeom prst="triangle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49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91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: Title (3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02E168A-8B02-40E3-98F0-8FB750E685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1919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02E168A-8B02-40E3-98F0-8FB750E68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272DFB-D2D2-45ED-AFB0-C8944D5F7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4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3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3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61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61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61"/>
            <a:ext cx="3643200" cy="167378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04D31312-35C5-4C51-BEBC-7DFB106FBB95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093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: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663787-A935-40D7-87DF-68BEA5CBF0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117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7663787-A935-40D7-87DF-68BEA5CBF0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D471AF-D701-42FA-BE42-3876DF20B17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3" y="0"/>
            <a:ext cx="12192000" cy="6858000"/>
          </a:xfrm>
          <a:prstGeom prst="rect">
            <a:avLst/>
          </a:prstGeom>
          <a:solidFill>
            <a:srgbClr val="FF000F"/>
          </a:solidFill>
          <a:ln w="25400" cap="flat" cmpd="sng" algn="ctr">
            <a:noFill/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A90620-6E53-42BB-807B-70CAD0710CDD}"/>
              </a:ext>
            </a:extLst>
          </p:cNvPr>
          <p:cNvSpPr/>
          <p:nvPr userDrawn="1"/>
        </p:nvSpPr>
        <p:spPr bwMode="gray">
          <a:xfrm>
            <a:off x="244800" y="414450"/>
            <a:ext cx="413300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 dirty="0">
                <a:solidFill>
                  <a:schemeClr val="bg1"/>
                </a:solidFill>
              </a:rPr>
              <a:t>—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B34BC21-AFED-46B1-8268-92A7B5BBDEE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C1FE702-2A26-4886-8C77-E6510DB1849C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8" y="1264009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93592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: Title (3) &amp; Content (6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CC9BA31-511A-472F-9D72-E87DE6B7F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7944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CC9BA31-511A-472F-9D72-E87DE6B7F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1A27A5E-79B9-4DA8-B770-5CAD18CAF95F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3264" y="2317753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4271796" y="2317753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8210327" y="2317753"/>
            <a:ext cx="3643200" cy="1692493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4239661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4239661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4239661"/>
            <a:ext cx="3643200" cy="102895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1D9E79DB-42B6-4FDF-8901-EDDD0B15FEBB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 bwMode="gray">
          <a:xfrm>
            <a:off x="333264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gray">
          <a:xfrm>
            <a:off x="4271796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191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8210327" y="2238606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17"/>
          <p:cNvSpPr>
            <a:spLocks noGrp="1"/>
          </p:cNvSpPr>
          <p:nvPr>
            <p:ph type="body" sz="quarter" idx="31"/>
          </p:nvPr>
        </p:nvSpPr>
        <p:spPr bwMode="gray">
          <a:xfrm>
            <a:off x="333264" y="5452639"/>
            <a:ext cx="11520000" cy="460800"/>
          </a:xfrm>
          <a:solidFill>
            <a:schemeClr val="accent3"/>
          </a:solidFill>
        </p:spPr>
        <p:txBody>
          <a:bodyPr anchor="ctr"/>
          <a:lstStyle>
            <a:lvl1pPr marL="7938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478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: Content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26D046-2250-4385-B9BA-37126C0737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7595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26D046-2250-4385-B9BA-37126C0737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E512A27-3D52-4E8F-8BC6-891B84D05FB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9336AA33-6DC9-453C-804C-536915D96FD3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2367" y="3989616"/>
            <a:ext cx="2655682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2355" y="1931194"/>
            <a:ext cx="2655214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313943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91293" y="1931194"/>
            <a:ext cx="5609417" cy="398091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9049511" y="1931194"/>
            <a:ext cx="0" cy="3980918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9197845" y="3989616"/>
            <a:ext cx="2655682" cy="192249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9198313" y="1931194"/>
            <a:ext cx="2655214" cy="192249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813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E6D31F2-0924-4DF9-8B43-CF5D1F416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388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E6D31F2-0924-4DF9-8B43-CF5D1F4166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240B1BE-889F-4B9E-9EFA-01B31B29425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B4690D58-132B-41F1-809E-7C79AE9ADE6F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495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638"/>
            <a:ext cx="2656800" cy="359447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41" name="Straight Connector 40"/>
          <p:cNvCxnSpPr/>
          <p:nvPr userDrawn="1"/>
        </p:nvCxnSpPr>
        <p:spPr bwMode="gray">
          <a:xfrm>
            <a:off x="3138908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gray">
          <a:xfrm>
            <a:off x="9047884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6093396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387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: Title (4) &amp;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D8607E7-234F-4103-A725-88D12A9E6E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8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D8607E7-234F-4103-A725-88D12A9E6E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5064A07-F36F-4D02-B153-1448821CB5FA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317754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287752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287752" y="2317754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6242240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2317754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264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 bwMode="gray">
          <a:xfrm>
            <a:off x="3287752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6242240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 bwMode="gray">
          <a:xfrm>
            <a:off x="9196727" y="2238606"/>
            <a:ext cx="265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6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9196727" y="1931193"/>
            <a:ext cx="26568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9196727" y="2317754"/>
            <a:ext cx="2656800" cy="295086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30"/>
          </p:nvPr>
        </p:nvSpPr>
        <p:spPr bwMode="gray">
          <a:xfrm>
            <a:off x="332367" y="5452639"/>
            <a:ext cx="11520897" cy="460800"/>
          </a:xfrm>
          <a:solidFill>
            <a:schemeClr val="accent3"/>
          </a:solidFill>
        </p:spPr>
        <p:txBody>
          <a:bodyPr anchor="ctr"/>
          <a:lstStyle>
            <a:lvl1pPr marL="7938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7938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3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7C99B28F-31C8-4DCE-8ADB-92A6DB9BC1A9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2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33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42" name="Straight Connector 41"/>
          <p:cNvCxnSpPr/>
          <p:nvPr userDrawn="1"/>
        </p:nvCxnSpPr>
        <p:spPr bwMode="gray">
          <a:xfrm>
            <a:off x="3138908" y="2388956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gray">
          <a:xfrm>
            <a:off x="9047884" y="2388956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gray">
          <a:xfrm>
            <a:off x="6093396" y="2388956"/>
            <a:ext cx="0" cy="287966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01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: Content (3)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48D9433-400D-4787-A57A-62F5B8733A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642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48D9433-400D-4787-A57A-62F5B8733A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2B266B2-0CFF-4FD6-9369-E6781C3668B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D55C6F4D-1357-4A6A-9B38-79BE30FAEEA6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6250005" y="1931199"/>
            <a:ext cx="5603523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5" y="1931199"/>
            <a:ext cx="5602537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6095999" y="1931199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8" y="4064036"/>
            <a:ext cx="11520897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946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ED95659-6C35-435C-81CF-E4CA44290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043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ED95659-6C35-435C-81CF-E4CA44290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9A3508-59A0-43E3-877F-84B5D17471D1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CC707A3D-437C-4768-8817-18F1A32443D8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4259985" y="1931199"/>
            <a:ext cx="3643200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 bwMode="gray">
          <a:xfrm>
            <a:off x="333264" y="1931199"/>
            <a:ext cx="3643200" cy="1853869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21" name="Straight Connector 20"/>
          <p:cNvCxnSpPr/>
          <p:nvPr userDrawn="1"/>
        </p:nvCxnSpPr>
        <p:spPr bwMode="gray">
          <a:xfrm>
            <a:off x="4118225" y="1931199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6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32368" y="4064036"/>
            <a:ext cx="11520897" cy="1848076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 bwMode="gray">
          <a:xfrm>
            <a:off x="8056756" y="1931199"/>
            <a:ext cx="0" cy="185386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8210327" y="1931199"/>
            <a:ext cx="3643200" cy="1853869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533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: Content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B36F31E-BA92-421C-8050-3074308C61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9594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B36F31E-BA92-421C-8050-3074308C61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DAB2A2-D2BE-43A9-86FE-44F838203D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2098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 bwMode="gray">
          <a:xfrm>
            <a:off x="333527" y="3925094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3287752" y="1932849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16596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287752" y="4017347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E0611517-614C-4B4D-AB44-367E4E99FD8B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9pPr>
              <a:defRPr sz="900"/>
            </a:lvl9pPr>
          </a:lstStyle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140326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6242240" y="1932098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9196727" y="1932849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6242240" y="4016596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9196727" y="4017347"/>
            <a:ext cx="2656800" cy="1897200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688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: Title (4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3A7F4B-CF6C-48C7-8997-B1D1790D5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315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3A7F4B-CF6C-48C7-8997-B1D1790D5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897B52B-B8B7-4586-8BFC-65FBCE98873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333264" y="4045107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6248045" y="1931193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0"/>
          </p:nvPr>
        </p:nvSpPr>
        <p:spPr bwMode="gray">
          <a:xfrm>
            <a:off x="333264" y="4432237"/>
            <a:ext cx="5605200" cy="1484195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3264" y="2317638"/>
            <a:ext cx="5605200" cy="1484876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C4E03CA3-8880-4761-834D-5767F2401861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10"/>
          <p:cNvCxnSpPr/>
          <p:nvPr userDrawn="1"/>
        </p:nvCxnSpPr>
        <p:spPr bwMode="gray">
          <a:xfrm>
            <a:off x="333264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" name="Straight Connector 9"/>
          <p:cNvCxnSpPr/>
          <p:nvPr userDrawn="1"/>
        </p:nvCxnSpPr>
        <p:spPr bwMode="gray">
          <a:xfrm>
            <a:off x="333264" y="4348008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" name="Straight Connector 14"/>
          <p:cNvCxnSpPr/>
          <p:nvPr userDrawn="1"/>
        </p:nvCxnSpPr>
        <p:spPr bwMode="gray">
          <a:xfrm>
            <a:off x="6248045" y="2239175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8" name="Content Placeholder 15"/>
          <p:cNvSpPr>
            <a:spLocks noGrp="1"/>
          </p:cNvSpPr>
          <p:nvPr>
            <p:ph sz="quarter" idx="21"/>
          </p:nvPr>
        </p:nvSpPr>
        <p:spPr bwMode="gray">
          <a:xfrm>
            <a:off x="6248045" y="2317643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9" y="1085213"/>
            <a:ext cx="11521159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cxnSp>
        <p:nvCxnSpPr>
          <p:cNvPr id="32" name="Straight Connector 31"/>
          <p:cNvCxnSpPr/>
          <p:nvPr userDrawn="1"/>
        </p:nvCxnSpPr>
        <p:spPr bwMode="gray">
          <a:xfrm>
            <a:off x="6095999" y="2388843"/>
            <a:ext cx="0" cy="352327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Text Placeholder 11"/>
          <p:cNvSpPr>
            <a:spLocks noGrp="1"/>
          </p:cNvSpPr>
          <p:nvPr>
            <p:ph type="body" sz="quarter" idx="22"/>
          </p:nvPr>
        </p:nvSpPr>
        <p:spPr bwMode="gray">
          <a:xfrm>
            <a:off x="6248045" y="4043972"/>
            <a:ext cx="5605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9" name="Straight Connector 14"/>
          <p:cNvCxnSpPr/>
          <p:nvPr userDrawn="1"/>
        </p:nvCxnSpPr>
        <p:spPr bwMode="gray">
          <a:xfrm>
            <a:off x="6248045" y="4351954"/>
            <a:ext cx="5605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0" name="Content Placeholder 15"/>
          <p:cNvSpPr>
            <a:spLocks noGrp="1"/>
          </p:cNvSpPr>
          <p:nvPr>
            <p:ph sz="quarter" idx="23"/>
          </p:nvPr>
        </p:nvSpPr>
        <p:spPr bwMode="gray">
          <a:xfrm>
            <a:off x="6248045" y="4430422"/>
            <a:ext cx="5605200" cy="1481057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440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: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DBF0E0D-C47C-41EA-84F8-B6F82F9B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2748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DBF0E0D-C47C-41EA-84F8-B6F82F9B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8D146F-2DEA-4AFE-84E8-561B8992313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4" y="1931195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982244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gray">
          <a:xfrm>
            <a:off x="333527" y="3922317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4129" y="1931195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4" y="4059571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4129" y="4059571"/>
            <a:ext cx="5619398" cy="1853868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4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8EC109B0-75FC-4429-BE4E-3C56DF0B4567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5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167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: Content (4)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99F7407-AD23-42EB-80E2-C108906FDF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639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99F7407-AD23-42EB-80E2-C108906FDF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0605BF4-5421-4E33-8FE2-044F49BED12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333265" y="1931200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6232345" y="1931200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333265" y="3737727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6232345" y="3737727"/>
            <a:ext cx="5621183" cy="1530893"/>
          </a:xfrm>
        </p:spPr>
        <p:txBody>
          <a:bodyPr lIns="0" tIns="0" rIns="0" bIns="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332367" y="5452639"/>
            <a:ext cx="11521160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Straight Connector 22"/>
          <p:cNvCxnSpPr/>
          <p:nvPr userDrawn="1"/>
        </p:nvCxnSpPr>
        <p:spPr bwMode="gray">
          <a:xfrm>
            <a:off x="333527" y="359990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" name="Date Placeholder 2"/>
          <p:cNvSpPr>
            <a:spLocks noGrp="1"/>
          </p:cNvSpPr>
          <p:nvPr>
            <p:ph type="dt" sz="half" idx="25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82AE24F0-D46E-441E-BC56-E449F6276B29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6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7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 bwMode="gray">
          <a:xfrm>
            <a:off x="6095999" y="1931195"/>
            <a:ext cx="0" cy="333742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5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23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: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6EDB105-2715-48FB-AA48-4E088B9F5E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548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6EDB105-2715-48FB-AA48-4E088B9F5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9AFA35-01B5-4BEC-93EB-C0B122D4B18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AC380CA-95DB-45F2-99D5-3A1E2DF54CD3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35756" y="718060"/>
            <a:ext cx="11521282" cy="504000"/>
          </a:xfrm>
        </p:spPr>
        <p:txBody>
          <a:bodyPr lIns="0" tIns="0" rIns="0" bIns="0" anchor="b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E182003-2699-4135-A685-461A4D33947D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35758" y="1264009"/>
            <a:ext cx="1152128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2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: Title (2) &amp; Conten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EC2A98B-27C9-4F69-B83E-E03FADB98C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18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EC2A98B-27C9-4F69-B83E-E03FADB98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C6AC4C7-6898-4145-B47E-83FDC3A46E3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4" y="1931196"/>
            <a:ext cx="53619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4" y="3993324"/>
            <a:ext cx="5361993" cy="191932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1798" y="3921919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582" y="1931196"/>
            <a:ext cx="191880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582" y="3993324"/>
            <a:ext cx="1918800" cy="1919320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15E70819-8927-4894-9672-C8919068D05F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7" y="1085213"/>
            <a:ext cx="11521161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10" y="1931196"/>
            <a:ext cx="3634755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386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: Title (3) &amp; Content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164C56A-D671-45CC-9C9B-AD44A7083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00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164C56A-D671-45CC-9C9B-AD44A7083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916814E-876F-4514-8333-BDF2DE1E168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4" y="1931196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4" y="3305949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4" y="4680702"/>
            <a:ext cx="5361993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866" y="3235138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2554866" y="4611082"/>
            <a:ext cx="53604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 userDrawn="1">
            <p:ph sz="quarter" idx="23"/>
          </p:nvPr>
        </p:nvSpPr>
        <p:spPr bwMode="gray">
          <a:xfrm>
            <a:off x="332368" y="1931196"/>
            <a:ext cx="1917663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 userDrawn="1">
            <p:ph sz="quarter" idx="24"/>
          </p:nvPr>
        </p:nvSpPr>
        <p:spPr bwMode="gray">
          <a:xfrm>
            <a:off x="332368" y="3305949"/>
            <a:ext cx="1917663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 userDrawn="1">
            <p:ph sz="quarter" idx="25"/>
          </p:nvPr>
        </p:nvSpPr>
        <p:spPr bwMode="gray">
          <a:xfrm>
            <a:off x="332368" y="4680702"/>
            <a:ext cx="1917663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26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4BCB0CFA-6541-4C1A-AF28-2E10B008E3FC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27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28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8218510" y="1931196"/>
            <a:ext cx="3634755" cy="3981448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58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: Title (3) &amp; Content (3)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2721B9A-1D86-407F-9331-085327509E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4695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2721B9A-1D86-407F-9331-085327509E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35A34B9-8472-4DE8-A354-6D9C7093D1A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23513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305949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680702"/>
            <a:ext cx="9299991" cy="123194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61108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6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7717F15D-506D-49EF-9CE2-C0D267A1C972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7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8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07209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: Title (3) &amp; Content (3) &amp; Bo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DAC6AEE-CC35-4B0E-9F89-B1D8E6387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256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DAC6AEE-CC35-4B0E-9F89-B1D8E6387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2003EC6-C315-474A-8BE8-07D3D44F312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1931196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2554464" y="3019668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3" y="3091669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3" y="4252143"/>
            <a:ext cx="9299991" cy="1016472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2554464" y="4180142"/>
            <a:ext cx="9298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091669"/>
            <a:ext cx="1916766" cy="101647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252143"/>
            <a:ext cx="1916766" cy="101647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6" y="5452639"/>
            <a:ext cx="115208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7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A6AEED0B-F756-4AC8-AA9D-323D354ED2D7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8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9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01035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: Title (4) &amp; Content (4) &amp; Box /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1C8EE8-B35F-4AFE-B356-CB4A621B0D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914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91C8EE8-B35F-4AFE-B356-CB4A621B0D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69AD5D-D5EB-453C-8A07-5BC64C1CFBF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818584" y="1931200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818584" y="2801556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818584" y="3671912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332367" y="5452639"/>
            <a:ext cx="11520898" cy="460800"/>
          </a:xfrm>
          <a:solidFill>
            <a:schemeClr val="accent3"/>
          </a:solidFill>
        </p:spPr>
        <p:txBody>
          <a:bodyPr lIns="0" tIns="0" rIns="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332583" y="1931200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332583" y="2801556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332583" y="3671912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2818584" y="4542267"/>
            <a:ext cx="9034681" cy="726353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332583" y="4542267"/>
            <a:ext cx="1535879" cy="726353"/>
          </a:xfrm>
        </p:spPr>
        <p:txBody>
          <a:bodyPr lIns="0" tIns="0" rIns="0" bIns="0" anchor="ctr"/>
          <a:lstStyle>
            <a:lvl1pPr marL="1588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1588" indent="0">
              <a:buNone/>
              <a:defRPr b="1">
                <a:solidFill>
                  <a:schemeClr val="tx2"/>
                </a:solidFill>
              </a:defRPr>
            </a:lvl2pPr>
            <a:lvl3pPr marL="1588" indent="0">
              <a:buNone/>
              <a:defRPr b="1">
                <a:solidFill>
                  <a:schemeClr val="tx2"/>
                </a:solidFill>
              </a:defRPr>
            </a:lvl3pPr>
            <a:lvl4pPr marL="1588" indent="0">
              <a:buNone/>
              <a:defRPr b="1">
                <a:solidFill>
                  <a:schemeClr val="tx2"/>
                </a:solidFill>
              </a:defRPr>
            </a:lvl4pPr>
            <a:lvl5pPr marL="1588" indent="0">
              <a:buNone/>
              <a:defRPr b="1">
                <a:solidFill>
                  <a:schemeClr val="tx2"/>
                </a:solidFill>
              </a:defRPr>
            </a:lvl5pPr>
            <a:lvl6pPr marL="1588" indent="0">
              <a:buNone/>
              <a:defRPr b="1">
                <a:solidFill>
                  <a:schemeClr val="tx2"/>
                </a:solidFill>
              </a:defRPr>
            </a:lvl6pPr>
            <a:lvl7pPr marL="1588" indent="0">
              <a:buNone/>
              <a:defRPr b="1">
                <a:solidFill>
                  <a:schemeClr val="tx2"/>
                </a:solidFill>
              </a:defRPr>
            </a:lvl7pPr>
            <a:lvl8pPr marL="1588" indent="0">
              <a:buNone/>
              <a:defRPr b="1">
                <a:solidFill>
                  <a:schemeClr val="tx2"/>
                </a:solidFill>
              </a:defRPr>
            </a:lvl8pPr>
            <a:lvl9pPr marL="1588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39" name="Straight Connector 13"/>
          <p:cNvCxnSpPr/>
          <p:nvPr userDrawn="1"/>
        </p:nvCxnSpPr>
        <p:spPr bwMode="gray">
          <a:xfrm>
            <a:off x="1999567" y="2800986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0" name="Straight Connector 14"/>
          <p:cNvCxnSpPr/>
          <p:nvPr userDrawn="1"/>
        </p:nvCxnSpPr>
        <p:spPr bwMode="gray">
          <a:xfrm>
            <a:off x="1779055" y="3164586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1" name="Straight Connector 13"/>
          <p:cNvCxnSpPr/>
          <p:nvPr userDrawn="1"/>
        </p:nvCxnSpPr>
        <p:spPr bwMode="gray">
          <a:xfrm>
            <a:off x="1999567" y="4542262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2" name="Straight Connector 14"/>
          <p:cNvCxnSpPr/>
          <p:nvPr userDrawn="1"/>
        </p:nvCxnSpPr>
        <p:spPr bwMode="gray">
          <a:xfrm>
            <a:off x="1778488" y="4905862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13"/>
          <p:cNvCxnSpPr/>
          <p:nvPr userDrawn="1"/>
        </p:nvCxnSpPr>
        <p:spPr bwMode="gray">
          <a:xfrm>
            <a:off x="1999567" y="1930348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14"/>
          <p:cNvCxnSpPr/>
          <p:nvPr userDrawn="1"/>
        </p:nvCxnSpPr>
        <p:spPr bwMode="gray">
          <a:xfrm>
            <a:off x="1779502" y="2293948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13"/>
          <p:cNvCxnSpPr/>
          <p:nvPr userDrawn="1"/>
        </p:nvCxnSpPr>
        <p:spPr bwMode="gray">
          <a:xfrm>
            <a:off x="1999568" y="3671624"/>
            <a:ext cx="0" cy="72720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9" name="Straight Connector 14"/>
          <p:cNvCxnSpPr/>
          <p:nvPr userDrawn="1"/>
        </p:nvCxnSpPr>
        <p:spPr bwMode="gray">
          <a:xfrm>
            <a:off x="1778488" y="4035224"/>
            <a:ext cx="220918" cy="0"/>
          </a:xfrm>
          <a:prstGeom prst="line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2072428" y="272954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 userDrawn="1"/>
        </p:nvCxnSpPr>
        <p:spPr bwMode="gray">
          <a:xfrm>
            <a:off x="2072428" y="3599904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 userDrawn="1"/>
        </p:nvCxnSpPr>
        <p:spPr bwMode="gray">
          <a:xfrm>
            <a:off x="2072428" y="4470259"/>
            <a:ext cx="97808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 userDrawn="1">
            <p:ph type="dt" sz="half" idx="32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5886327C-AA5E-4F43-AF30-97340266EED1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33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3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Subtitle 2"/>
          <p:cNvSpPr>
            <a:spLocks noGrp="1"/>
          </p:cNvSpPr>
          <p:nvPr userDrawn="1"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5" hasCustomPrompt="1"/>
          </p:nvPr>
        </p:nvSpPr>
        <p:spPr>
          <a:xfrm>
            <a:off x="2218077" y="2100061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4" name="Content Placeholder 6"/>
          <p:cNvSpPr>
            <a:spLocks noGrp="1"/>
          </p:cNvSpPr>
          <p:nvPr>
            <p:ph sz="quarter" idx="36" hasCustomPrompt="1"/>
          </p:nvPr>
        </p:nvSpPr>
        <p:spPr>
          <a:xfrm>
            <a:off x="2218077" y="297198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Content Placeholder 6"/>
          <p:cNvSpPr>
            <a:spLocks noGrp="1"/>
          </p:cNvSpPr>
          <p:nvPr>
            <p:ph sz="quarter" idx="37" hasCustomPrompt="1"/>
          </p:nvPr>
        </p:nvSpPr>
        <p:spPr>
          <a:xfrm>
            <a:off x="2218077" y="3843416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6" name="Content Placeholder 6"/>
          <p:cNvSpPr>
            <a:spLocks noGrp="1"/>
          </p:cNvSpPr>
          <p:nvPr>
            <p:ph sz="quarter" idx="38" hasCustomPrompt="1"/>
          </p:nvPr>
        </p:nvSpPr>
        <p:spPr>
          <a:xfrm>
            <a:off x="2218077" y="4708172"/>
            <a:ext cx="385200" cy="3852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algn="ctr">
              <a:spcBef>
                <a:spcPts val="0"/>
              </a:spcBef>
              <a:defRPr sz="2000" b="1">
                <a:solidFill>
                  <a:schemeClr val="bg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137481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: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3FE483-53CE-4AD5-AE2B-7EA12A1E00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84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43FE483-53CE-4AD5-AE2B-7EA12A1E0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C6AF6D0-B848-4294-989D-8ECFF44E963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37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2553272" y="1931194"/>
            <a:ext cx="2899094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Text Placeholder 11"/>
          <p:cNvSpPr>
            <a:spLocks noGrp="1"/>
          </p:cNvSpPr>
          <p:nvPr>
            <p:ph type="body" sz="quarter" idx="27"/>
          </p:nvPr>
        </p:nvSpPr>
        <p:spPr bwMode="gray">
          <a:xfrm>
            <a:off x="5754948" y="1931194"/>
            <a:ext cx="2898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 Placeholder 11"/>
          <p:cNvSpPr>
            <a:spLocks noGrp="1"/>
          </p:cNvSpPr>
          <p:nvPr>
            <p:ph type="body" sz="quarter" idx="28"/>
          </p:nvPr>
        </p:nvSpPr>
        <p:spPr bwMode="gray">
          <a:xfrm>
            <a:off x="8955527" y="1931194"/>
            <a:ext cx="2898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2553273" y="2317748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1"/>
          </p:nvPr>
        </p:nvSpPr>
        <p:spPr bwMode="gray">
          <a:xfrm>
            <a:off x="2553274" y="3573970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22"/>
          </p:nvPr>
        </p:nvSpPr>
        <p:spPr bwMode="gray">
          <a:xfrm>
            <a:off x="2553274" y="4830194"/>
            <a:ext cx="2903803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1931196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333264" y="3305949"/>
            <a:ext cx="1916766" cy="1231942"/>
          </a:xfrm>
        </p:spPr>
        <p:txBody>
          <a:bodyPr lIns="0" tIns="0" rIns="0" bIns="0" anchor="ctr"/>
          <a:lstStyle>
            <a:lvl1pPr marL="0" indent="0" algn="l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 algn="l">
              <a:buNone/>
              <a:defRPr b="1">
                <a:solidFill>
                  <a:schemeClr val="tx2"/>
                </a:solidFill>
              </a:defRPr>
            </a:lvl2pPr>
            <a:lvl3pPr marL="0" indent="0" algn="l">
              <a:buNone/>
              <a:defRPr b="1">
                <a:solidFill>
                  <a:schemeClr val="tx2"/>
                </a:solidFill>
              </a:defRPr>
            </a:lvl3pPr>
            <a:lvl4pPr marL="0" indent="0" algn="l">
              <a:buNone/>
              <a:defRPr b="1">
                <a:solidFill>
                  <a:schemeClr val="tx2"/>
                </a:solidFill>
              </a:defRPr>
            </a:lvl4pPr>
            <a:lvl5pPr marL="0" indent="0" algn="l">
              <a:buNone/>
              <a:defRPr b="1">
                <a:solidFill>
                  <a:schemeClr val="tx2"/>
                </a:solidFill>
              </a:defRPr>
            </a:lvl5pPr>
            <a:lvl6pPr marL="0" indent="0" algn="l">
              <a:buNone/>
              <a:defRPr b="1">
                <a:solidFill>
                  <a:schemeClr val="tx2"/>
                </a:solidFill>
              </a:defRPr>
            </a:lvl6pPr>
            <a:lvl7pPr marL="0" indent="0" algn="l">
              <a:buNone/>
              <a:defRPr b="1">
                <a:solidFill>
                  <a:schemeClr val="tx2"/>
                </a:solidFill>
              </a:defRPr>
            </a:lvl7pPr>
            <a:lvl8pPr marL="0" indent="0" algn="l">
              <a:buNone/>
              <a:defRPr b="1">
                <a:solidFill>
                  <a:schemeClr val="tx2"/>
                </a:solidFill>
              </a:defRPr>
            </a:lvl8pPr>
            <a:lvl9pPr marL="0" indent="0" algn="l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333264" y="4680702"/>
            <a:ext cx="1916766" cy="1231942"/>
          </a:xfrm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 b="1">
                <a:solidFill>
                  <a:schemeClr val="tx2"/>
                </a:solidFill>
              </a:defRPr>
            </a:lvl2pPr>
            <a:lvl3pPr marL="0" indent="0">
              <a:buNone/>
              <a:defRPr b="1">
                <a:solidFill>
                  <a:schemeClr val="tx2"/>
                </a:solidFill>
              </a:defRPr>
            </a:lvl3pPr>
            <a:lvl4pPr marL="0" indent="0">
              <a:buNone/>
              <a:defRPr b="1">
                <a:solidFill>
                  <a:schemeClr val="tx2"/>
                </a:solidFill>
              </a:defRPr>
            </a:lvl4pPr>
            <a:lvl5pPr marL="0" indent="0">
              <a:buNone/>
              <a:defRPr b="1">
                <a:solidFill>
                  <a:schemeClr val="tx2"/>
                </a:solidFill>
              </a:defRPr>
            </a:lvl5pPr>
            <a:lvl6pPr marL="0" indent="0">
              <a:buNone/>
              <a:defRPr b="1">
                <a:solidFill>
                  <a:schemeClr val="tx2"/>
                </a:solidFill>
              </a:defRPr>
            </a:lvl6pPr>
            <a:lvl7pPr marL="0" indent="0">
              <a:buNone/>
              <a:defRPr b="1">
                <a:solidFill>
                  <a:schemeClr val="tx2"/>
                </a:solidFill>
              </a:defRPr>
            </a:lvl7pPr>
            <a:lvl8pPr marL="0" indent="0">
              <a:buNone/>
              <a:defRPr b="1">
                <a:solidFill>
                  <a:schemeClr val="tx2"/>
                </a:solidFill>
              </a:defRPr>
            </a:lvl8pPr>
            <a:lvl9pPr marL="0" indent="0">
              <a:buNone/>
              <a:defRPr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8" name="Straight Connector 27"/>
          <p:cNvCxnSpPr/>
          <p:nvPr userDrawn="1"/>
        </p:nvCxnSpPr>
        <p:spPr bwMode="gray">
          <a:xfrm>
            <a:off x="2553273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 bwMode="gray">
          <a:xfrm>
            <a:off x="2550360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 bwMode="gray">
          <a:xfrm>
            <a:off x="2550360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 userDrawn="1"/>
        </p:nvCxnSpPr>
        <p:spPr bwMode="gray">
          <a:xfrm>
            <a:off x="5754401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 bwMode="gray">
          <a:xfrm>
            <a:off x="5752943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 bwMode="gray">
          <a:xfrm>
            <a:off x="5752943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 bwMode="gray">
          <a:xfrm>
            <a:off x="8955527" y="2238607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 userDrawn="1"/>
        </p:nvCxnSpPr>
        <p:spPr bwMode="gray">
          <a:xfrm>
            <a:off x="8955527" y="3487659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 bwMode="gray">
          <a:xfrm>
            <a:off x="8955527" y="4743881"/>
            <a:ext cx="2898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3" name="Content Placeholder 3"/>
          <p:cNvSpPr>
            <a:spLocks noGrp="1"/>
          </p:cNvSpPr>
          <p:nvPr>
            <p:ph sz="quarter" idx="29"/>
          </p:nvPr>
        </p:nvSpPr>
        <p:spPr bwMode="gray">
          <a:xfrm>
            <a:off x="5757301" y="2317748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4" name="Content Placeholder 3"/>
          <p:cNvSpPr>
            <a:spLocks noGrp="1"/>
          </p:cNvSpPr>
          <p:nvPr>
            <p:ph sz="quarter" idx="30"/>
          </p:nvPr>
        </p:nvSpPr>
        <p:spPr bwMode="gray">
          <a:xfrm>
            <a:off x="5757302" y="3573970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5" name="Content Placeholder 3"/>
          <p:cNvSpPr>
            <a:spLocks noGrp="1"/>
          </p:cNvSpPr>
          <p:nvPr>
            <p:ph sz="quarter" idx="31"/>
          </p:nvPr>
        </p:nvSpPr>
        <p:spPr bwMode="gray">
          <a:xfrm>
            <a:off x="5757302" y="4830194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6" name="Content Placeholder 3"/>
          <p:cNvSpPr>
            <a:spLocks noGrp="1"/>
          </p:cNvSpPr>
          <p:nvPr>
            <p:ph sz="quarter" idx="32"/>
          </p:nvPr>
        </p:nvSpPr>
        <p:spPr bwMode="gray">
          <a:xfrm>
            <a:off x="8955527" y="2317748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7" name="Content Placeholder 3"/>
          <p:cNvSpPr>
            <a:spLocks noGrp="1"/>
          </p:cNvSpPr>
          <p:nvPr>
            <p:ph sz="quarter" idx="33"/>
          </p:nvPr>
        </p:nvSpPr>
        <p:spPr bwMode="gray">
          <a:xfrm>
            <a:off x="8955527" y="3573970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8" name="Content Placeholder 3"/>
          <p:cNvSpPr>
            <a:spLocks noGrp="1"/>
          </p:cNvSpPr>
          <p:nvPr>
            <p:ph sz="quarter" idx="34"/>
          </p:nvPr>
        </p:nvSpPr>
        <p:spPr bwMode="gray">
          <a:xfrm>
            <a:off x="8955527" y="4830194"/>
            <a:ext cx="2898000" cy="1083600"/>
          </a:xfrm>
        </p:spPr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35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9C2F4835-9B96-4DF5-AAA6-ECF7FA6AC084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6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7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1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6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34482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: Proc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CC3F646-F2DD-46C5-9A24-CC1070470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44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CC3F646-F2DD-46C5-9A24-CC1070470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5AB7620-9D64-422B-B7E1-548D452750A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3264" y="1931945"/>
            <a:ext cx="3643200" cy="360000"/>
          </a:xfrm>
          <a:prstGeom prst="homePlate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24"/>
          </p:nvPr>
        </p:nvSpPr>
        <p:spPr bwMode="gray">
          <a:xfrm>
            <a:off x="4271796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1"/>
          <p:cNvSpPr>
            <a:spLocks noGrp="1"/>
          </p:cNvSpPr>
          <p:nvPr>
            <p:ph type="body" sz="quarter" idx="26"/>
          </p:nvPr>
        </p:nvSpPr>
        <p:spPr bwMode="gray">
          <a:xfrm>
            <a:off x="8210327" y="1931945"/>
            <a:ext cx="3643200" cy="360000"/>
          </a:xfrm>
          <a:prstGeom prst="chevron">
            <a:avLst/>
          </a:prstGeom>
          <a:solidFill>
            <a:schemeClr val="accent4"/>
          </a:solidFill>
        </p:spPr>
        <p:txBody>
          <a:bodyPr lIns="28800" tIns="0" rIns="28800"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A38A18E7-9BD9-4C21-A92A-0000075C47BF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4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4271796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8210327" y="2402146"/>
            <a:ext cx="3643200" cy="351129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7" name="Straight Connector 26"/>
          <p:cNvCxnSpPr/>
          <p:nvPr userDrawn="1"/>
        </p:nvCxnSpPr>
        <p:spPr bwMode="gray">
          <a:xfrm>
            <a:off x="4124130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 bwMode="gray">
          <a:xfrm>
            <a:off x="8062662" y="2473348"/>
            <a:ext cx="0" cy="344009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8" y="1085213"/>
            <a:ext cx="11520897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68583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-Custom-Te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A7767C4-8606-FD4F-A0FF-39F5749FE5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2000" cy="6858000"/>
          </a:xfrm>
          <a:noFill/>
        </p:spPr>
        <p:txBody>
          <a:bodyPr/>
          <a:lstStyle/>
          <a:p>
            <a:endParaRPr lang="en-D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049537-8933-3B43-8E51-F1CCA5A560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8FC927-28DE-3A46-B551-2D4945F27C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nternal use onl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6BD7D1-CC32-2545-A9E5-2C8341BA597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DAA42BF1-81AB-4815-B6E4-77563C3F2273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28242B-0BFD-DC43-8296-42AF3F41C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71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233A36-F5F9-4A65-8110-A30E4D189C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8871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B233A36-F5F9-4A65-8110-A30E4D189C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7049B09-A447-4AD5-8FC3-6FAD770FE34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085213"/>
            <a:ext cx="11520898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BCB27A7F-B736-27FF-E374-73DCA097514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488733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8E71513-B911-F6DB-BA36-A07D41EB3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488733"/>
            <a:ext cx="8490250" cy="118800"/>
          </a:xfrm>
          <a:prstGeom prst="rect">
            <a:avLst/>
          </a:prstGeom>
        </p:spPr>
        <p:txBody>
          <a:bodyPr anchor="t" anchorCtr="0"/>
          <a:lstStyle>
            <a:lvl9pPr>
              <a:defRPr sz="800"/>
            </a:lvl9pPr>
          </a:lstStyle>
          <a:p>
            <a:pPr lvl="8"/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D4F761-1110-04DF-6151-6AAC2CF2DD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9175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F07A13-3A51-47A8-869B-BE9C345D3B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4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F07A13-3A51-47A8-869B-BE9C345D3B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2811EE99-D791-4D9A-8276-2A7146444179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7617" y="2793575"/>
            <a:ext cx="3296776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F42A0CA-CE27-894E-8608-159A9D69C094}"/>
              </a:ext>
            </a:extLst>
          </p:cNvPr>
          <p:cNvSpPr/>
          <p:nvPr userDrawn="1"/>
        </p:nvSpPr>
        <p:spPr bwMode="gray">
          <a:xfrm>
            <a:off x="266979" y="5926914"/>
            <a:ext cx="11660269" cy="820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 sz="1400" dirty="0"/>
          </a:p>
        </p:txBody>
      </p:sp>
    </p:spTree>
    <p:extLst>
      <p:ext uri="{BB962C8B-B14F-4D97-AF65-F5344CB8AC3E}">
        <p14:creationId xmlns:p14="http://schemas.microsoft.com/office/powerpoint/2010/main" val="169292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: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325674E-243B-4013-87B9-55D3275BDE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349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325674E-243B-4013-87B9-55D3275BDE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32D25DE-6550-498A-A1B4-C159EED09EB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 bwMode="gray">
          <a:xfrm>
            <a:off x="332368" y="1931197"/>
            <a:ext cx="11520897" cy="3980439"/>
          </a:xfrm>
        </p:spPr>
        <p:txBody>
          <a:bodyPr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3pPr>
            <a:lvl4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4pPr>
            <a:lvl5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Clr>
                <a:schemeClr val="accent4"/>
              </a:buClr>
              <a:buFont typeface="Symbol" panose="05050102010706020507" pitchFamily="18" charset="2"/>
              <a:buChar char="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9pPr>
              <a:defRPr sz="900"/>
            </a:lvl9pPr>
          </a:lstStyle>
          <a:p>
            <a:pPr lvl="8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056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7" y="1120928"/>
            <a:ext cx="11473402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473402" cy="396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>
          <a:xfrm>
            <a:off x="24847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604723B6-2C37-4C03-92C2-AA6C4A469955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accent4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447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131837"/>
            <a:ext cx="11530800" cy="486000"/>
          </a:xfrm>
        </p:spPr>
        <p:txBody>
          <a:bodyPr lIns="0" tIns="0" rIns="0" bIns="0"/>
          <a:lstStyle>
            <a:lvl1pPr>
              <a:defRPr sz="20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 dirty="0"/>
              <a:t>Click to add subtitle</a:t>
            </a:r>
            <a:endParaRPr lang="en-US" noProof="0" dirty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4713301"/>
            <a:ext cx="3701050" cy="1919801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200" y="1929600"/>
            <a:ext cx="3699460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6563" y="4713301"/>
            <a:ext cx="3700462" cy="1919801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46561" y="1929600"/>
            <a:ext cx="3700463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6AF0EBF-62A4-42DC-9C7E-514C93CDDD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62925" y="4713301"/>
            <a:ext cx="3700463" cy="1919801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75C67401-BB72-41AA-A861-52013F7781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62925" y="1929600"/>
            <a:ext cx="3700463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603F760-84BA-D2D1-906D-7D7CE0C5CBF7}"/>
              </a:ext>
            </a:extLst>
          </p:cNvPr>
          <p:cNvCxnSpPr>
            <a:cxnSpLocks/>
          </p:cNvCxnSpPr>
          <p:nvPr/>
        </p:nvCxnSpPr>
        <p:spPr bwMode="gray">
          <a:xfrm>
            <a:off x="0" y="4494151"/>
            <a:ext cx="12192000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id="{E82462CA-10EC-CAF8-8CC2-EE79AEA53FF8}"/>
              </a:ext>
            </a:extLst>
          </p:cNvPr>
          <p:cNvSpPr/>
          <p:nvPr/>
        </p:nvSpPr>
        <p:spPr bwMode="gray">
          <a:xfrm>
            <a:off x="319867" y="4447274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2AC6900-CF4F-0D5E-481A-77809A2629E4}"/>
              </a:ext>
            </a:extLst>
          </p:cNvPr>
          <p:cNvSpPr/>
          <p:nvPr/>
        </p:nvSpPr>
        <p:spPr bwMode="gray">
          <a:xfrm>
            <a:off x="8145589" y="4447274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BDFD646-7F0F-7234-1E65-61DD805A8FBA}"/>
              </a:ext>
            </a:extLst>
          </p:cNvPr>
          <p:cNvSpPr/>
          <p:nvPr/>
        </p:nvSpPr>
        <p:spPr bwMode="gray">
          <a:xfrm>
            <a:off x="4232728" y="4447274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</p:spTree>
    <p:extLst>
      <p:ext uri="{BB962C8B-B14F-4D97-AF65-F5344CB8AC3E}">
        <p14:creationId xmlns:p14="http://schemas.microsoft.com/office/powerpoint/2010/main" val="296756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rounded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44EC52-177B-4EE6-B503-BC62C90040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38400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  <a:endParaRPr lang="en-US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198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  <a:endParaRPr lang="en-US"/>
          </a:p>
          <a:p>
            <a:pPr lvl="1"/>
            <a:r>
              <a:rPr lang="en-US" noProof="0"/>
              <a:t>Second level</a:t>
            </a:r>
            <a:endParaRPr lang="en-US"/>
          </a:p>
          <a:p>
            <a:pPr lvl="2"/>
            <a:r>
              <a:rPr lang="en-US" noProof="0"/>
              <a:t>Third level</a:t>
            </a:r>
            <a:endParaRPr lang="en-US"/>
          </a:p>
          <a:p>
            <a:pPr lvl="3"/>
            <a:r>
              <a:rPr lang="en-US" noProof="0"/>
              <a:t>Fourth level</a:t>
            </a:r>
            <a:endParaRPr lang="en-US"/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2767594A-9B1B-4FC9-A3EF-98EEA86AC6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272596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US" dirty="0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5E9B6A50-8E7E-44DE-87B0-BBA84E8C9C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67795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  <a:endParaRPr lang="en-US"/>
          </a:p>
          <a:p>
            <a:pPr lvl="1"/>
            <a:r>
              <a:rPr lang="en-US" noProof="0"/>
              <a:t>Second level</a:t>
            </a:r>
            <a:endParaRPr lang="en-US"/>
          </a:p>
          <a:p>
            <a:pPr lvl="2"/>
            <a:r>
              <a:rPr lang="en-US" noProof="0"/>
              <a:t>Third level</a:t>
            </a:r>
            <a:endParaRPr lang="en-US"/>
          </a:p>
          <a:p>
            <a:pPr lvl="3"/>
            <a:r>
              <a:rPr lang="en-US" noProof="0"/>
              <a:t>Fourth level</a:t>
            </a:r>
            <a:endParaRPr lang="en-US"/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403055A0-7433-437E-92E6-21BA8C2F2EC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206792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US" dirty="0"/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F4B5EE1A-3316-46F5-BB7B-CCCA30464A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4392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  <a:endParaRPr lang="en-US"/>
          </a:p>
          <a:p>
            <a:pPr lvl="1"/>
            <a:r>
              <a:rPr lang="en-US" noProof="0"/>
              <a:t>Second level</a:t>
            </a:r>
            <a:endParaRPr lang="en-US"/>
          </a:p>
          <a:p>
            <a:pPr lvl="2"/>
            <a:r>
              <a:rPr lang="en-US" noProof="0"/>
              <a:t>Third level</a:t>
            </a:r>
            <a:endParaRPr lang="en-US"/>
          </a:p>
          <a:p>
            <a:pPr lvl="3"/>
            <a:r>
              <a:rPr lang="en-US" noProof="0"/>
              <a:t>Fourth level</a:t>
            </a:r>
            <a:endParaRPr lang="en-US"/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0FD68CA-5637-4712-BABD-05E96DCD3B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140989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US" dirty="0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B81787D8-AACD-4182-9B1C-706B7FA5B2F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40989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  <a:endParaRPr lang="en-US"/>
          </a:p>
          <a:p>
            <a:pPr lvl="1"/>
            <a:r>
              <a:rPr lang="en-US" noProof="0"/>
              <a:t>Second level</a:t>
            </a:r>
            <a:endParaRPr lang="en-US"/>
          </a:p>
          <a:p>
            <a:pPr lvl="2"/>
            <a:r>
              <a:rPr lang="en-US" noProof="0"/>
              <a:t>Third level</a:t>
            </a:r>
            <a:endParaRPr lang="en-US"/>
          </a:p>
          <a:p>
            <a:pPr lvl="3"/>
            <a:r>
              <a:rPr lang="en-US" noProof="0"/>
              <a:t>Fourth level</a:t>
            </a:r>
            <a:endParaRPr lang="en-US"/>
          </a:p>
          <a:p>
            <a:pPr lvl="4"/>
            <a:r>
              <a:rPr lang="en-US" noProof="0"/>
              <a:t>Fifth level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6B62B0B7-A6D9-4AB3-BC54-596A0494B0AF}" type="datetime4">
              <a:rPr lang="en-US" noProof="0" smtClean="0"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50977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93B1FE-B926-469A-85A8-E00CA4FBFE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4611600"/>
          </a:xfrm>
        </p:spPr>
        <p:txBody>
          <a:bodyPr lIns="0" tIns="0" rIns="0" bIns="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DA95573-D6E2-4AE8-BC7C-9ED41474E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325037"/>
            <a:ext cx="9787525" cy="486000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4B7DFE2-ECC3-43F8-84A5-7C854EDDC7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00" y="5808186"/>
            <a:ext cx="9787525" cy="486000"/>
          </a:xfrm>
        </p:spPr>
        <p:txBody>
          <a:bodyPr lIns="0"/>
          <a:lstStyle>
            <a:lvl1pPr>
              <a:defRPr sz="32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7223CF7-4278-4148-85A7-A9569B5C54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200" y="5136445"/>
            <a:ext cx="9787525" cy="185926"/>
          </a:xfrm>
        </p:spPr>
        <p:txBody>
          <a:bodyPr lIns="0" anchor="t"/>
          <a:lstStyle>
            <a:lvl1pPr>
              <a:spcBef>
                <a:spcPts val="0"/>
              </a:spcBef>
              <a:defRPr sz="1200" cap="all" spc="200" baseline="0"/>
            </a:lvl1pPr>
          </a:lstStyle>
          <a:p>
            <a:pPr lvl="0"/>
            <a:r>
              <a:rPr lang="en-US" noProof="0"/>
              <a:t>DATE OR OTHER INFORMATION – THIS LINE IS NOT OBLIGATORY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CF1CED0-A353-47EA-8ED6-DC423D2F5167}"/>
              </a:ext>
            </a:extLst>
          </p:cNvPr>
          <p:cNvSpPr txBox="1">
            <a:spLocks/>
          </p:cNvSpPr>
          <p:nvPr userDrawn="1"/>
        </p:nvSpPr>
        <p:spPr>
          <a:xfrm>
            <a:off x="331199" y="4900566"/>
            <a:ext cx="406799" cy="45719"/>
          </a:xfrm>
          <a:prstGeom prst="rect">
            <a:avLst/>
          </a:prstGeom>
        </p:spPr>
        <p:txBody>
          <a:bodyPr lIns="0" tIns="0" rIns="0" bIns="540000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24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—</a:t>
            </a:r>
          </a:p>
        </p:txBody>
      </p:sp>
      <p:sp>
        <p:nvSpPr>
          <p:cNvPr id="14" name="Date Placeholder 2" hidden="1">
            <a:extLst>
              <a:ext uri="{FF2B5EF4-FFF2-40B4-BE49-F238E27FC236}">
                <a16:creationId xmlns:a16="http://schemas.microsoft.com/office/drawing/2014/main" id="{0A33B1B3-23BD-4E69-9630-079CFBD253D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2016A11-4950-4F3F-938B-45DEE5F72969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8" name="Footer Placeholder 5" hidden="1">
            <a:extLst>
              <a:ext uri="{FF2B5EF4-FFF2-40B4-BE49-F238E27FC236}">
                <a16:creationId xmlns:a16="http://schemas.microsoft.com/office/drawing/2014/main" id="{FF96FD6D-EB5B-42F4-A782-864EE898492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9" name="Slide Number Placeholder 6" hidden="1">
            <a:extLst>
              <a:ext uri="{FF2B5EF4-FFF2-40B4-BE49-F238E27FC236}">
                <a16:creationId xmlns:a16="http://schemas.microsoft.com/office/drawing/2014/main" id="{A5917654-E2E7-4F3B-9A54-AAD25568306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5" name="Logo">
            <a:extLst>
              <a:ext uri="{FF2B5EF4-FFF2-40B4-BE49-F238E27FC236}">
                <a16:creationId xmlns:a16="http://schemas.microsoft.com/office/drawing/2014/main" id="{ED4B13D8-2F10-407F-A41A-CB05B3D19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643" y="6159885"/>
            <a:ext cx="873621" cy="335227"/>
          </a:xfrm>
          <a:prstGeom prst="rect">
            <a:avLst/>
          </a:prstGeom>
        </p:spPr>
      </p:pic>
      <p:sp>
        <p:nvSpPr>
          <p:cNvPr id="33" name="Textbox for metadata">
            <a:extLst>
              <a:ext uri="{FF2B5EF4-FFF2-40B4-BE49-F238E27FC236}">
                <a16:creationId xmlns:a16="http://schemas.microsoft.com/office/drawing/2014/main" id="{99A66A49-8F92-4F89-AFD0-110E26BF2680}"/>
              </a:ext>
            </a:extLst>
          </p:cNvPr>
          <p:cNvSpPr txBox="1">
            <a:spLocks/>
          </p:cNvSpPr>
          <p:nvPr userDrawn="1"/>
        </p:nvSpPr>
        <p:spPr>
          <a:xfrm>
            <a:off x="331196" y="6506816"/>
            <a:ext cx="4680000" cy="1188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3" name="Copyright" descr="{&#10; &quot;SkabelonDesign&quot;: {&#10; &quot;textualValue&quot;: &quot;&lt;s&gt;&lt;![CDATA[© ]]&gt;&lt;/s&gt;&lt;key1/&gt;&lt;s&gt;&lt;![CDATA[ ]]&gt;&lt;/s&gt;&lt;key2/&gt;&lt;s&gt;&lt;![CDATA[. All rights reserved.]]&gt;&lt;/s&gt;&quot;,&#10; &quot;bindingCollection&quot;: {&#10; &quot;key1&quot;: {&quot;SkabelonDesign&quot;:{&quot;type&quot;:&quot;Date&quot;,&quot;ignoreBlank&quot;:&quot;true&quot;,&quot;binding&quot;:&quot;Doc.DateTime.Today&quot;,&quot;format&quot;:&quot;yyyy&quot;}},&#10; &quot;key2&quot;: {&quot;SkabelonDesign&quot;:{&quot;type&quot;:&quot;Text&quot;,&quot;ignoreBlank&quot;:&quot;true&quot;,&quot;binding&quot;:&quot;Doc.Prop.BrandName&quot;}}&#10; }&#10; }&#10;}&#10;">
            <a:extLst>
              <a:ext uri="{FF2B5EF4-FFF2-40B4-BE49-F238E27FC236}">
                <a16:creationId xmlns:a16="http://schemas.microsoft.com/office/drawing/2014/main" id="{47C61707-0D77-48A5-9714-CB909585A68D}"/>
              </a:ext>
            </a:extLst>
          </p:cNvPr>
          <p:cNvSpPr txBox="1"/>
          <p:nvPr userDrawn="1"/>
        </p:nvSpPr>
        <p:spPr bwMode="gray">
          <a:xfrm>
            <a:off x="329522" y="6494400"/>
            <a:ext cx="1745341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4 . All rights reserved.</a:t>
            </a:r>
          </a:p>
        </p:txBody>
      </p:sp>
      <p:sp>
        <p:nvSpPr>
          <p:cNvPr id="24" name="DocumentID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id="{A941D9CF-B941-4280-8DD1-D881D243EC4F}"/>
              </a:ext>
            </a:extLst>
          </p:cNvPr>
          <p:cNvSpPr txBox="1"/>
          <p:nvPr userDrawn="1"/>
        </p:nvSpPr>
        <p:spPr bwMode="gray">
          <a:xfrm>
            <a:off x="2125496" y="6494400"/>
            <a:ext cx="1679368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l-PL" sz="800">
              <a:solidFill>
                <a:schemeClr val="tx1"/>
              </a:solidFill>
            </a:endParaRPr>
          </a:p>
        </p:txBody>
      </p:sp>
      <p:sp>
        <p:nvSpPr>
          <p:cNvPr id="26" name="Revision" descr="{&#10; &quot;SkabelonDesign&quot;: {&#10; &quot;textualValue&quot;: &quot;&lt;key1/&gt;&quot;,&#10; &quot;bindingCollection&quot;: {&#10; &quot;key1&quot;: {&quot;SkabelonDesign&quot;:{&quot;type&quot;:&quot;Text&quot;,&quot;binding&quot;:&quot;DocumentRevisionIdLabelAndValue&quot;}}&#10; }&#10; }&#10;}">
            <a:extLst>
              <a:ext uri="{FF2B5EF4-FFF2-40B4-BE49-F238E27FC236}">
                <a16:creationId xmlns:a16="http://schemas.microsoft.com/office/drawing/2014/main" id="{097C192C-56D3-4D2E-A5FD-182AEBEC4C94}"/>
              </a:ext>
            </a:extLst>
          </p:cNvPr>
          <p:cNvSpPr txBox="1"/>
          <p:nvPr userDrawn="1"/>
        </p:nvSpPr>
        <p:spPr bwMode="gray">
          <a:xfrm>
            <a:off x="4143600" y="6494400"/>
            <a:ext cx="756000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pl-PL" sz="800">
              <a:solidFill>
                <a:schemeClr val="tx1"/>
              </a:solidFill>
            </a:endParaRPr>
          </a:p>
        </p:txBody>
      </p:sp>
      <p:pic>
        <p:nvPicPr>
          <p:cNvPr id="28" name="Public" hidden="1">
            <a:extLst>
              <a:ext uri="{FF2B5EF4-FFF2-40B4-BE49-F238E27FC236}">
                <a16:creationId xmlns:a16="http://schemas.microsoft.com/office/drawing/2014/main" id="{089BF126-0AB0-48E5-A809-02B682A20C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9" name="Strictly" hidden="1">
            <a:extLst>
              <a:ext uri="{FF2B5EF4-FFF2-40B4-BE49-F238E27FC236}">
                <a16:creationId xmlns:a16="http://schemas.microsoft.com/office/drawing/2014/main" id="{3C3EDCCB-E7C4-4E76-BA33-B6873F267F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30" name="Confidential" hidden="1">
            <a:extLst>
              <a:ext uri="{FF2B5EF4-FFF2-40B4-BE49-F238E27FC236}">
                <a16:creationId xmlns:a16="http://schemas.microsoft.com/office/drawing/2014/main" id="{6EAD4F75-4667-4059-8FC0-653CBC14DC8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31" name="Internal" hidden="1">
            <a:extLst>
              <a:ext uri="{FF2B5EF4-FFF2-40B4-BE49-F238E27FC236}">
                <a16:creationId xmlns:a16="http://schemas.microsoft.com/office/drawing/2014/main" id="{CCAAC345-E3A4-4B7C-B7B2-FBE34784FEC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6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hart&#10;&#10;Description automatically generated with medium confidence">
            <a:extLst>
              <a:ext uri="{FF2B5EF4-FFF2-40B4-BE49-F238E27FC236}">
                <a16:creationId xmlns:a16="http://schemas.microsoft.com/office/drawing/2014/main" id="{83AD3074-4AEC-4AC2-A26D-D25764BFE9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272EA1-7C97-4CB4-A2F2-14BEE5DCBC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139290"/>
            <a:ext cx="9787525" cy="486000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B5F8F87-3B65-4B62-9068-930D3EF1A8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00" y="5622439"/>
            <a:ext cx="9787525" cy="486000"/>
          </a:xfrm>
        </p:spPr>
        <p:txBody>
          <a:bodyPr lIns="0"/>
          <a:lstStyle>
            <a:lvl1pPr>
              <a:defRPr sz="32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7C62B3A4-847D-448E-B792-DE62FEB4E58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2016A11-4950-4F3F-938B-45DEE5F72969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4" name="Footer Placeholder 5" hidden="1">
            <a:extLst>
              <a:ext uri="{FF2B5EF4-FFF2-40B4-BE49-F238E27FC236}">
                <a16:creationId xmlns:a16="http://schemas.microsoft.com/office/drawing/2014/main" id="{B6935CD3-ECA4-4229-A00C-3BDDEB2BD50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5" name="Slide Number Placeholder 6" hidden="1">
            <a:extLst>
              <a:ext uri="{FF2B5EF4-FFF2-40B4-BE49-F238E27FC236}">
                <a16:creationId xmlns:a16="http://schemas.microsoft.com/office/drawing/2014/main" id="{9AA86E30-296D-41CC-A9C9-C72660CB77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89FB94D8-068A-40E5-9C29-DDB083870C4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79643" y="6159885"/>
            <a:ext cx="873621" cy="335227"/>
          </a:xfrm>
          <a:prstGeom prst="rect">
            <a:avLst/>
          </a:prstGeom>
        </p:spPr>
      </p:pic>
      <p:sp>
        <p:nvSpPr>
          <p:cNvPr id="9" name="Text Placeholder 26">
            <a:extLst>
              <a:ext uri="{FF2B5EF4-FFF2-40B4-BE49-F238E27FC236}">
                <a16:creationId xmlns:a16="http://schemas.microsoft.com/office/drawing/2014/main" id="{DCA8C29B-B642-430B-B35C-1D22E16B5ADC}"/>
              </a:ext>
            </a:extLst>
          </p:cNvPr>
          <p:cNvSpPr txBox="1">
            <a:spLocks/>
          </p:cNvSpPr>
          <p:nvPr userDrawn="1"/>
        </p:nvSpPr>
        <p:spPr>
          <a:xfrm>
            <a:off x="331199" y="4900566"/>
            <a:ext cx="406799" cy="45719"/>
          </a:xfrm>
          <a:prstGeom prst="rect">
            <a:avLst/>
          </a:prstGeom>
        </p:spPr>
        <p:txBody>
          <a:bodyPr lIns="0" tIns="0" rIns="0" bIns="540000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24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—</a:t>
            </a:r>
          </a:p>
        </p:txBody>
      </p:sp>
      <p:sp>
        <p:nvSpPr>
          <p:cNvPr id="29" name="Textbox for metadata">
            <a:extLst>
              <a:ext uri="{FF2B5EF4-FFF2-40B4-BE49-F238E27FC236}">
                <a16:creationId xmlns:a16="http://schemas.microsoft.com/office/drawing/2014/main" id="{D7DCD54B-3107-4990-98EF-B47683C6F3FD}"/>
              </a:ext>
            </a:extLst>
          </p:cNvPr>
          <p:cNvSpPr txBox="1">
            <a:spLocks/>
          </p:cNvSpPr>
          <p:nvPr userDrawn="1"/>
        </p:nvSpPr>
        <p:spPr>
          <a:xfrm>
            <a:off x="331196" y="6506816"/>
            <a:ext cx="4680000" cy="1188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9" name="Copyright" descr="{&#10; &quot;SkabelonDesign&quot;: {&#10; &quot;textualValue&quot;: &quot;&lt;s&gt;&lt;![CDATA[© ]]&gt;&lt;/s&gt;&lt;key1/&gt;&lt;s&gt;&lt;![CDATA[ ]]&gt;&lt;/s&gt;&lt;key2/&gt;&lt;s&gt;&lt;![CDATA[. All rights reserved.]]&gt;&lt;/s&gt;&quot;,&#10; &quot;bindingCollection&quot;: {&#10; &quot;key1&quot;: {&quot;SkabelonDesign&quot;:{&quot;type&quot;:&quot;Date&quot;,&quot;ignoreBlank&quot;:&quot;true&quot;,&quot;binding&quot;:&quot;Doc.DateTime.Today&quot;,&quot;format&quot;:&quot;yyyy&quot;}},&#10; &quot;key2&quot;: {&quot;SkabelonDesign&quot;:{&quot;type&quot;:&quot;Text&quot;,&quot;ignoreBlank&quot;:&quot;true&quot;,&quot;binding&quot;:&quot;Doc.Prop.BrandName&quot;}}&#10; }&#10; }&#10;}&#10;">
            <a:extLst>
              <a:ext uri="{FF2B5EF4-FFF2-40B4-BE49-F238E27FC236}">
                <a16:creationId xmlns:a16="http://schemas.microsoft.com/office/drawing/2014/main" id="{B0D0F57F-14FF-4552-BF2B-6E2C9856C84B}"/>
              </a:ext>
            </a:extLst>
          </p:cNvPr>
          <p:cNvSpPr txBox="1"/>
          <p:nvPr userDrawn="1"/>
        </p:nvSpPr>
        <p:spPr bwMode="gray">
          <a:xfrm>
            <a:off x="329522" y="6494400"/>
            <a:ext cx="1745341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4 . All rights reserved.</a:t>
            </a:r>
          </a:p>
        </p:txBody>
      </p:sp>
      <p:sp>
        <p:nvSpPr>
          <p:cNvPr id="20" name="DocumentID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id="{84F086C7-2804-421D-86F6-0C377AD5170F}"/>
              </a:ext>
            </a:extLst>
          </p:cNvPr>
          <p:cNvSpPr txBox="1"/>
          <p:nvPr userDrawn="1"/>
        </p:nvSpPr>
        <p:spPr bwMode="gray">
          <a:xfrm>
            <a:off x="2125496" y="6494400"/>
            <a:ext cx="1679368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l-PL" sz="800">
              <a:solidFill>
                <a:schemeClr val="tx1"/>
              </a:solidFill>
            </a:endParaRPr>
          </a:p>
        </p:txBody>
      </p:sp>
      <p:sp>
        <p:nvSpPr>
          <p:cNvPr id="21" name="Revision" descr="{&#10; &quot;SkabelonDesign&quot;: {&#10; &quot;textualValue&quot;: &quot;&lt;key1/&gt;&quot;,&#10; &quot;bindingCollection&quot;: {&#10; &quot;key1&quot;: {&quot;SkabelonDesign&quot;:{&quot;type&quot;:&quot;Text&quot;,&quot;binding&quot;:&quot;DocumentRevisionIdLabelAndValue&quot;}}&#10; }&#10; }&#10;}">
            <a:extLst>
              <a:ext uri="{FF2B5EF4-FFF2-40B4-BE49-F238E27FC236}">
                <a16:creationId xmlns:a16="http://schemas.microsoft.com/office/drawing/2014/main" id="{B86297F8-6905-4EC1-9DA0-268763BA2E96}"/>
              </a:ext>
            </a:extLst>
          </p:cNvPr>
          <p:cNvSpPr txBox="1"/>
          <p:nvPr userDrawn="1"/>
        </p:nvSpPr>
        <p:spPr bwMode="gray">
          <a:xfrm>
            <a:off x="4143600" y="6494400"/>
            <a:ext cx="756000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pl-PL" sz="800">
              <a:solidFill>
                <a:schemeClr val="tx1"/>
              </a:solidFill>
            </a:endParaRPr>
          </a:p>
        </p:txBody>
      </p:sp>
      <p:pic>
        <p:nvPicPr>
          <p:cNvPr id="17" name="Public" hidden="1">
            <a:extLst>
              <a:ext uri="{FF2B5EF4-FFF2-40B4-BE49-F238E27FC236}">
                <a16:creationId xmlns:a16="http://schemas.microsoft.com/office/drawing/2014/main" id="{2187D762-A3C6-4506-8EC4-C288D544134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18" name="Strictly" hidden="1">
            <a:extLst>
              <a:ext uri="{FF2B5EF4-FFF2-40B4-BE49-F238E27FC236}">
                <a16:creationId xmlns:a16="http://schemas.microsoft.com/office/drawing/2014/main" id="{93A0DA05-8ED4-4FB9-9176-CDF4DEFC0C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2" name="Confidential" hidden="1">
            <a:extLst>
              <a:ext uri="{FF2B5EF4-FFF2-40B4-BE49-F238E27FC236}">
                <a16:creationId xmlns:a16="http://schemas.microsoft.com/office/drawing/2014/main" id="{EB4773D5-E8B8-4AA2-8AC1-E9FB27B0DFA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3" name="Internal" hidden="1">
            <a:extLst>
              <a:ext uri="{FF2B5EF4-FFF2-40B4-BE49-F238E27FC236}">
                <a16:creationId xmlns:a16="http://schemas.microsoft.com/office/drawing/2014/main" id="{DAE94509-87FD-4C8C-A3FC-6D4B7E7D600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16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93B1FE-B926-469A-85A8-E00CA4FBFE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4611600"/>
          </a:xfrm>
        </p:spPr>
        <p:txBody>
          <a:bodyPr lIns="0" tIns="0" rIns="0" bIns="0"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D08DEBF-5D94-4EC5-9268-53E64944E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5139290"/>
            <a:ext cx="9787525" cy="486000"/>
          </a:xfrm>
        </p:spPr>
        <p:txBody>
          <a:bodyPr/>
          <a:lstStyle>
            <a:lvl1pPr>
              <a:defRPr sz="3200"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D1D0512A-9CA1-454B-B205-24CCE4C1BB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00" y="5622439"/>
            <a:ext cx="9787525" cy="486000"/>
          </a:xfrm>
        </p:spPr>
        <p:txBody>
          <a:bodyPr lIns="0"/>
          <a:lstStyle>
            <a:lvl1pPr>
              <a:defRPr sz="32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4186AE2-439F-4822-BDFB-97546FD2D79E}"/>
              </a:ext>
            </a:extLst>
          </p:cNvPr>
          <p:cNvSpPr txBox="1">
            <a:spLocks/>
          </p:cNvSpPr>
          <p:nvPr userDrawn="1"/>
        </p:nvSpPr>
        <p:spPr>
          <a:xfrm>
            <a:off x="331199" y="4900566"/>
            <a:ext cx="406799" cy="45719"/>
          </a:xfrm>
          <a:prstGeom prst="rect">
            <a:avLst/>
          </a:prstGeom>
        </p:spPr>
        <p:txBody>
          <a:bodyPr lIns="0" tIns="0" rIns="0" bIns="540000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2400" b="1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—</a:t>
            </a:r>
          </a:p>
        </p:txBody>
      </p:sp>
      <p:sp>
        <p:nvSpPr>
          <p:cNvPr id="13" name="Date Placeholder 2" hidden="1">
            <a:extLst>
              <a:ext uri="{FF2B5EF4-FFF2-40B4-BE49-F238E27FC236}">
                <a16:creationId xmlns:a16="http://schemas.microsoft.com/office/drawing/2014/main" id="{86899F48-C911-4CD2-8537-1874E4E7FFE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2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B2016A11-4950-4F3F-938B-45DEE5F72969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6" name="Footer Placeholder 5" hidden="1">
            <a:extLst>
              <a:ext uri="{FF2B5EF4-FFF2-40B4-BE49-F238E27FC236}">
                <a16:creationId xmlns:a16="http://schemas.microsoft.com/office/drawing/2014/main" id="{7DCDF680-C48C-4D0A-9069-B2F60D63B78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2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DE"/>
          </a:p>
        </p:txBody>
      </p:sp>
      <p:sp>
        <p:nvSpPr>
          <p:cNvPr id="17" name="Slide Number Placeholder 6" hidden="1">
            <a:extLst>
              <a:ext uri="{FF2B5EF4-FFF2-40B4-BE49-F238E27FC236}">
                <a16:creationId xmlns:a16="http://schemas.microsoft.com/office/drawing/2014/main" id="{0266C1C2-4C9C-4B41-96AD-AEADB16E34D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2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3" name="Logo">
            <a:extLst>
              <a:ext uri="{FF2B5EF4-FFF2-40B4-BE49-F238E27FC236}">
                <a16:creationId xmlns:a16="http://schemas.microsoft.com/office/drawing/2014/main" id="{6E96A828-2243-44DA-97DD-66BBAE00B7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79643" y="6159885"/>
            <a:ext cx="873621" cy="335227"/>
          </a:xfrm>
          <a:prstGeom prst="rect">
            <a:avLst/>
          </a:prstGeom>
        </p:spPr>
      </p:pic>
      <p:sp>
        <p:nvSpPr>
          <p:cNvPr id="31" name="Textbox for metadata">
            <a:extLst>
              <a:ext uri="{FF2B5EF4-FFF2-40B4-BE49-F238E27FC236}">
                <a16:creationId xmlns:a16="http://schemas.microsoft.com/office/drawing/2014/main" id="{E3F50A39-4A37-4A8F-8A6D-C4F1265DDE55}"/>
              </a:ext>
            </a:extLst>
          </p:cNvPr>
          <p:cNvSpPr txBox="1">
            <a:spLocks/>
          </p:cNvSpPr>
          <p:nvPr userDrawn="1"/>
        </p:nvSpPr>
        <p:spPr>
          <a:xfrm>
            <a:off x="331196" y="6506816"/>
            <a:ext cx="4680000" cy="1188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" name="Copyright" descr="{&#10; &quot;SkabelonDesign&quot;: {&#10; &quot;textualValue&quot;: &quot;&lt;s&gt;&lt;![CDATA[© ]]&gt;&lt;/s&gt;&lt;key1/&gt;&lt;s&gt;&lt;![CDATA[ ]]&gt;&lt;/s&gt;&lt;key2/&gt;&lt;s&gt;&lt;![CDATA[. All rights reserved.]]&gt;&lt;/s&gt;&quot;,&#10; &quot;bindingCollection&quot;: {&#10; &quot;key1&quot;: {&quot;SkabelonDesign&quot;:{&quot;type&quot;:&quot;Date&quot;,&quot;ignoreBlank&quot;:&quot;true&quot;,&quot;binding&quot;:&quot;Doc.DateTime.Today&quot;,&quot;format&quot;:&quot;yyyy&quot;}},&#10; &quot;key2&quot;: {&quot;SkabelonDesign&quot;:{&quot;type&quot;:&quot;Text&quot;,&quot;ignoreBlank&quot;:&quot;true&quot;,&quot;binding&quot;:&quot;Doc.Prop.BrandName&quot;}}&#10; }&#10; }&#10;}&#10;">
            <a:extLst>
              <a:ext uri="{FF2B5EF4-FFF2-40B4-BE49-F238E27FC236}">
                <a16:creationId xmlns:a16="http://schemas.microsoft.com/office/drawing/2014/main" id="{72C259B8-2007-488D-8494-693ADFA23A83}"/>
              </a:ext>
            </a:extLst>
          </p:cNvPr>
          <p:cNvSpPr txBox="1"/>
          <p:nvPr userDrawn="1"/>
        </p:nvSpPr>
        <p:spPr bwMode="gray">
          <a:xfrm>
            <a:off x="329522" y="6494400"/>
            <a:ext cx="1745341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-1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© 2024 . All rights reserved.</a:t>
            </a:r>
          </a:p>
        </p:txBody>
      </p:sp>
      <p:sp>
        <p:nvSpPr>
          <p:cNvPr id="22" name="DocumentID" descr="{&#10; &quot;SkabelonDesign&quot;: {&#10; &quot;textualValue&quot;: &quot;&lt;key1/&gt;&quot;,&#10; &quot;bindingCollection&quot;: {&#10; &quot;key1&quot;: {&quot;SkabelonDesign&quot;:{&quot;type&quot;:&quot;Text&quot;,&quot;binding&quot;:&quot;PPMetadata&quot;}}&#10; }&#10; }&#10;}">
            <a:extLst>
              <a:ext uri="{FF2B5EF4-FFF2-40B4-BE49-F238E27FC236}">
                <a16:creationId xmlns:a16="http://schemas.microsoft.com/office/drawing/2014/main" id="{E72EC7CB-C220-4F9F-904D-7507BD4E5788}"/>
              </a:ext>
            </a:extLst>
          </p:cNvPr>
          <p:cNvSpPr txBox="1"/>
          <p:nvPr userDrawn="1"/>
        </p:nvSpPr>
        <p:spPr bwMode="gray">
          <a:xfrm>
            <a:off x="2125496" y="6494400"/>
            <a:ext cx="1679368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pl-PL" sz="800">
              <a:solidFill>
                <a:schemeClr val="tx1"/>
              </a:solidFill>
            </a:endParaRPr>
          </a:p>
        </p:txBody>
      </p:sp>
      <p:sp>
        <p:nvSpPr>
          <p:cNvPr id="24" name="Revision" descr="{&#10; &quot;SkabelonDesign&quot;: {&#10; &quot;textualValue&quot;: &quot;&lt;key1/&gt;&quot;,&#10; &quot;bindingCollection&quot;: {&#10; &quot;key1&quot;: {&quot;SkabelonDesign&quot;:{&quot;type&quot;:&quot;Text&quot;,&quot;binding&quot;:&quot;DocumentRevisionIdLabelAndValue&quot;}}&#10; }&#10; }&#10;}">
            <a:extLst>
              <a:ext uri="{FF2B5EF4-FFF2-40B4-BE49-F238E27FC236}">
                <a16:creationId xmlns:a16="http://schemas.microsoft.com/office/drawing/2014/main" id="{E2CC540C-F06B-49C1-B9EC-0743FEA24793}"/>
              </a:ext>
            </a:extLst>
          </p:cNvPr>
          <p:cNvSpPr txBox="1"/>
          <p:nvPr userDrawn="1"/>
        </p:nvSpPr>
        <p:spPr bwMode="gray">
          <a:xfrm>
            <a:off x="4143600" y="6494400"/>
            <a:ext cx="756000" cy="1548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l"/>
            <a:endParaRPr lang="pl-PL" sz="800">
              <a:solidFill>
                <a:schemeClr val="tx1"/>
              </a:solidFill>
            </a:endParaRPr>
          </a:p>
        </p:txBody>
      </p:sp>
      <p:pic>
        <p:nvPicPr>
          <p:cNvPr id="26" name="Public" hidden="1">
            <a:extLst>
              <a:ext uri="{FF2B5EF4-FFF2-40B4-BE49-F238E27FC236}">
                <a16:creationId xmlns:a16="http://schemas.microsoft.com/office/drawing/2014/main" id="{5F10B15F-3EF9-48CD-8EF1-D9B20E27BE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7" name="Strictly" hidden="1">
            <a:extLst>
              <a:ext uri="{FF2B5EF4-FFF2-40B4-BE49-F238E27FC236}">
                <a16:creationId xmlns:a16="http://schemas.microsoft.com/office/drawing/2014/main" id="{52F2AFBF-ABDA-4AD1-B1DC-34B657FBFC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8" name="Confidential" hidden="1">
            <a:extLst>
              <a:ext uri="{FF2B5EF4-FFF2-40B4-BE49-F238E27FC236}">
                <a16:creationId xmlns:a16="http://schemas.microsoft.com/office/drawing/2014/main" id="{15A04D81-E91D-4EE9-8518-052E663B4CB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  <p:pic>
        <p:nvPicPr>
          <p:cNvPr id="29" name="Internal" hidden="1">
            <a:extLst>
              <a:ext uri="{FF2B5EF4-FFF2-40B4-BE49-F238E27FC236}">
                <a16:creationId xmlns:a16="http://schemas.microsoft.com/office/drawing/2014/main" id="{BAB3BC98-9299-4B09-B846-18F4470727C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519" y="365752"/>
            <a:ext cx="1542288" cy="26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157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>
            <a:extLst>
              <a:ext uri="{FF2B5EF4-FFF2-40B4-BE49-F238E27FC236}">
                <a16:creationId xmlns:a16="http://schemas.microsoft.com/office/drawing/2014/main" id="{B1911FE5-F5D9-4714-BE5D-FCA057C73A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ADAAE6-C7C8-41CD-B37C-3EE1E89871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5374" y="1269000"/>
            <a:ext cx="6848476" cy="4320000"/>
          </a:xfrm>
        </p:spPr>
        <p:txBody>
          <a:bodyPr lIns="0" tIns="0" rIns="0" bIns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—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13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DAAE6-C7C8-41CD-B37C-3EE1E89871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8000" y="1269000"/>
            <a:ext cx="6847200" cy="4320000"/>
          </a:xfrm>
        </p:spPr>
        <p:txBody>
          <a:bodyPr lIns="0" tIns="0" rIns="0" bIns="0"/>
          <a:lstStyle>
            <a:lvl1pPr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—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4240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F325B3-798C-47FD-B05F-B2F3AB0330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199"/>
            <a:ext cx="115306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CFEBAA7B-0B2E-41DA-8401-829266F20A8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200" y="1057498"/>
            <a:ext cx="115306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289BAEE-D351-4460-976F-80EE4A24A99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1929600"/>
            <a:ext cx="11530600" cy="4244400"/>
          </a:xfrm>
        </p:spPr>
        <p:txBody>
          <a:bodyPr lIns="0" tIns="0" rIns="0" bIns="0"/>
          <a:lstStyle>
            <a:lvl1pPr marL="284400" indent="-284400">
              <a:spcBef>
                <a:spcPts val="1200"/>
              </a:spcBef>
              <a:buFont typeface="ABBvoice" panose="020D0603020503020204" pitchFamily="34" charset="0"/>
              <a:buChar char="•"/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568800" indent="-284400">
              <a:spcBef>
                <a:spcPts val="1200"/>
              </a:spcBef>
              <a:buFont typeface="ABBvoice" panose="020D0603020503020204" pitchFamily="34" charset="0"/>
              <a:buChar char="•"/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853200" indent="-284400">
              <a:spcBef>
                <a:spcPts val="1200"/>
              </a:spcBef>
              <a:buFont typeface="ABBvoice" panose="020D0603020503020204" pitchFamily="34" charset="0"/>
              <a:buChar char="•"/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853200" indent="-284400">
              <a:spcBef>
                <a:spcPts val="1200"/>
              </a:spcBef>
              <a:buFont typeface="ABBvoice" panose="020D0603020503020204" pitchFamily="34" charset="0"/>
              <a:buChar char="•"/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853200" indent="-284400">
              <a:spcBef>
                <a:spcPts val="1200"/>
              </a:spcBef>
              <a:buFont typeface="ABBvoice" panose="020D0603020503020204" pitchFamily="34" charset="0"/>
              <a:buChar char="•"/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F7E1B39-5C80-4225-BFC0-8B0FA7ABAB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>
              <a:defRPr sz="900"/>
            </a:lvl1pPr>
          </a:lstStyle>
          <a:p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B732F8-4FA8-4FDC-A795-6371BBB4E7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B7AAD1-CD9E-4BAD-B4F6-882B69FA44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08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6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7A0A1F6-D28F-445F-86A8-4985AF8BE52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31199" y="1929600"/>
            <a:ext cx="11530011" cy="424815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8" y="1057498"/>
            <a:ext cx="11530011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>
              <a:defRPr sz="900"/>
            </a:lvl1pPr>
          </a:lstStyle>
          <a:p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892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939D2EC-5905-4A25-B0D6-3AB5ECC51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655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939D2EC-5905-4A25-B0D6-3AB5ECC51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76CAC0-36AB-45C7-BEC4-59D1A176113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9"/>
            <a:ext cx="11520000" cy="3982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DED11F41-F59E-4148-82B4-D5604C9DFCBD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9pPr>
              <a:defRPr sz="900"/>
            </a:lvl9pPr>
          </a:lstStyle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05562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199" y="4719600"/>
            <a:ext cx="5658437" cy="788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200" y="1929600"/>
            <a:ext cx="5658438" cy="26676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05538" y="4719600"/>
            <a:ext cx="5657850" cy="788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5538" y="1929600"/>
            <a:ext cx="5657850" cy="26676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A00D889A-2322-4DDB-A5EF-532FA124D0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361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4420800"/>
            <a:ext cx="3701050" cy="108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200" y="1929600"/>
            <a:ext cx="3699460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46563" y="4420800"/>
            <a:ext cx="3700462" cy="108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46561" y="1929600"/>
            <a:ext cx="3700463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6AF0EBF-62A4-42DC-9C7E-514C93CDDD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162925" y="4420800"/>
            <a:ext cx="3700463" cy="108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75C67401-BB72-41AA-A861-52013F7781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62925" y="1929600"/>
            <a:ext cx="3700463" cy="23652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3F6BC82E-5E7C-45F5-91CD-D280E38D1F4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616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199" y="4068000"/>
            <a:ext cx="2721563" cy="1443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199" y="1929600"/>
            <a:ext cx="2721563" cy="2016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67450" y="4068000"/>
            <a:ext cx="2722563" cy="1443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267783" y="1929600"/>
            <a:ext cx="2721563" cy="2016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6AF0EBF-62A4-42DC-9C7E-514C93CDDD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04701" y="4068000"/>
            <a:ext cx="2721600" cy="1443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75C67401-BB72-41AA-A861-52013F7781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04367" y="1929600"/>
            <a:ext cx="2721600" cy="2016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932C5289-B8D0-4FEF-9F54-0D65EFD892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40989" y="4068000"/>
            <a:ext cx="2721600" cy="1443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CA4C3A35-E23E-4C15-8D67-07EFD5F941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40989" y="1929600"/>
            <a:ext cx="2721600" cy="2016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DAC575A-6618-4D58-8557-3418AC6A26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398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3610800"/>
            <a:ext cx="2134800" cy="189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199" y="1929600"/>
            <a:ext cx="2134799" cy="15588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680347" y="3610800"/>
            <a:ext cx="2134800" cy="189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680346" y="1929600"/>
            <a:ext cx="2134800" cy="15588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6AF0EBF-62A4-42DC-9C7E-514C93CDDD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29494" y="3610800"/>
            <a:ext cx="2134800" cy="189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75C67401-BB72-41AA-A861-52013F7781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029494" y="1929600"/>
            <a:ext cx="2134800" cy="15588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932C5289-B8D0-4FEF-9F54-0D65EFD892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78641" y="3610800"/>
            <a:ext cx="2134800" cy="189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CA4C3A35-E23E-4C15-8D67-07EFD5F941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378642" y="1929600"/>
            <a:ext cx="2134800" cy="15588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F557D37-8C58-45BB-BCD2-B899758EECF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727789" y="3610800"/>
            <a:ext cx="2134800" cy="1897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EF28028A-6874-45E0-BC8D-8A1F2FBBA25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727789" y="1929600"/>
            <a:ext cx="2134800" cy="155880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731086D8-E45A-41ED-AC3B-AE44C82490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564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1200" y="1929600"/>
            <a:ext cx="1742400" cy="1224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6A070371-E7DC-4C2B-BB60-219E2F6D1C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288998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EFAE11EA-B7EE-4605-AC20-DF5266E57D1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288998" y="1929600"/>
            <a:ext cx="1742400" cy="122400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6AF0EBF-62A4-42DC-9C7E-514C93CDDDF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6796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75C67401-BB72-41AA-A861-52013F7781F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246796" y="1929600"/>
            <a:ext cx="1742400" cy="1224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932C5289-B8D0-4FEF-9F54-0D65EFD8920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4594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CA4C3A35-E23E-4C15-8D67-07EFD5F941E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04594" y="1929600"/>
            <a:ext cx="1742400" cy="122400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F557D37-8C58-45BB-BCD2-B899758EECF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62392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EF28028A-6874-45E0-BC8D-8A1F2FBBA251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162392" y="1929600"/>
            <a:ext cx="1742400" cy="1224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20D32C3-A646-46A3-A89B-D8B54CCB200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20189" y="3276000"/>
            <a:ext cx="1742400" cy="2232000"/>
          </a:xfrm>
        </p:spPr>
        <p:txBody>
          <a:bodyPr lIns="0" tIns="0" rIns="0" bIns="0"/>
          <a:lstStyle>
            <a:lvl1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2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AF50D2F7-148B-415F-9691-B8FFA28455D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0120189" y="1929600"/>
            <a:ext cx="1742400" cy="1224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D760D6FD-6CAE-4F90-B86F-38E9400A0AC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211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nine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4896438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4895849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5538" y="279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59548B43-B5A0-4273-B56B-10B599F0056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7138" y="279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35CD4B9C-945C-40FF-BD47-450E004E75F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028738" y="279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C37EE18F-5138-46F6-8F64-45A9C1B34E2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5538" y="2052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31F1B58F-EB8F-46BE-AEA0-7CD46F5312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17138" y="2052205"/>
            <a:ext cx="1834650" cy="168639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A0E14069-0987-4022-836B-AAB206CC5CA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028738" y="2052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742A9089-F92B-49A4-BABA-71AA8366E46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05538" y="3825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C0EF4526-4C12-4244-8872-7B4E2C535F2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17138" y="3825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36" name="Picture Placeholder 10">
            <a:extLst>
              <a:ext uri="{FF2B5EF4-FFF2-40B4-BE49-F238E27FC236}">
                <a16:creationId xmlns:a16="http://schemas.microsoft.com/office/drawing/2014/main" id="{2437BD9E-8D26-498F-82EA-45C3AF5A77A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0028738" y="3825205"/>
            <a:ext cx="1834650" cy="1686395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E84A20A-6C50-422B-A13D-BA125DC2739D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331200" y="1929600"/>
            <a:ext cx="4896438" cy="3582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AC4A9BBF-197B-4C9D-B440-391CB9BAAF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146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E42F1E3-1CF0-4318-B2CA-0E8CE1BBC50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</p:spPr>
        <p:txBody>
          <a:bodyPr lIns="0" tIns="0" rIns="0" bIns="0"/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30A68600-7881-4B67-B186-6217D1ABAC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600" cy="3672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233B759A-8EC4-474C-9D8F-27FFD7EFC0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F6A480-9627-4834-A7C2-9C9C23E027E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357F29-FBD8-4C17-AA78-F7962A8410D8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6EB2A1-5955-4872-8062-32929D0BD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9BF6FE6-5893-4416-9A56-5FE878A6910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4800" y="514800"/>
            <a:ext cx="306000" cy="32400"/>
          </a:xfrm>
          <a:solidFill>
            <a:schemeClr val="bg2"/>
          </a:solidFill>
          <a:ln w="6350">
            <a:solidFill>
              <a:schemeClr val="bg2"/>
            </a:solidFill>
            <a:miter lim="800000"/>
          </a:ln>
        </p:spPr>
        <p:txBody>
          <a:bodyPr lIns="0" tIns="0" rIns="0" bIns="0"/>
          <a:lstStyle>
            <a:lvl1pPr>
              <a:defRPr>
                <a:noFill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ED62A86F-7062-4D45-8FDF-AD84F6AFC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354200" y="6456066"/>
            <a:ext cx="507600" cy="192272"/>
          </a:xfrm>
          <a:prstGeom prst="rect">
            <a:avLst/>
          </a:prstGeom>
        </p:spPr>
      </p:pic>
      <p:sp>
        <p:nvSpPr>
          <p:cNvPr id="11" name="text" descr="{&#10; &quot;SkabelonDesign&quot;: {&#10; &quot;textualValue&quot;: &quot;&lt;key1/&gt;&quot;,&#10; &quot;bindingCollection&quot;: {&#10; &quot;key1&quot;: {&quot;SkabelonDesign&quot;:{&quot;type&quot;:&quot;Text&quot;,&quot;binding&quot;:&quot;Copyright&quot;}}&#10; }&#10; }&#10;}">
            <a:extLst>
              <a:ext uri="{FF2B5EF4-FFF2-40B4-BE49-F238E27FC236}">
                <a16:creationId xmlns:a16="http://schemas.microsoft.com/office/drawing/2014/main" id="{003BCFBD-4CE4-409C-ADBF-094B04343E68}"/>
              </a:ext>
            </a:extLst>
          </p:cNvPr>
          <p:cNvSpPr txBox="1"/>
          <p:nvPr userDrawn="1"/>
        </p:nvSpPr>
        <p:spPr bwMode="gray">
          <a:xfrm>
            <a:off x="2311200" y="6522896"/>
            <a:ext cx="2232000" cy="1692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800" b="0" i="0" u="none" strike="noStrike" kern="1200" cap="none" spc="-1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202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unded picture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2B44EC52-177B-4EE6-B503-BC62C90040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31789" y="2304000"/>
            <a:ext cx="2935286" cy="2935286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032250" y="2304000"/>
            <a:ext cx="7818950" cy="2343600"/>
          </a:xfrm>
        </p:spPr>
        <p:txBody>
          <a:bodyPr lIns="0" tIns="0" rIns="0" bIns="0"/>
          <a:lstStyle>
            <a:lvl1pPr>
              <a:defRPr sz="2400" b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indent="-284400">
              <a:defRPr sz="2400" b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568800" indent="-284400">
              <a:defRPr sz="2400" b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568800" indent="-284400">
              <a:defRPr sz="2400" b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568800" indent="-284400">
              <a:defRPr sz="2400" b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45EE9DB0-5B20-4895-89CC-4D1979114BE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032250" y="4737600"/>
            <a:ext cx="7818950" cy="684000"/>
          </a:xfrm>
        </p:spPr>
        <p:txBody>
          <a:bodyPr lIns="0" tIns="0" rIns="0" bIns="0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47227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rounded picture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44EC52-177B-4EE6-B503-BC62C90040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338400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198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2767594A-9B1B-4FC9-A3EF-98EEA86AC6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3272596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5E9B6A50-8E7E-44DE-87B0-BBA84E8C9C4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67795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403055A0-7433-437E-92E6-21BA8C2F2EC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6206792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F4B5EE1A-3316-46F5-BB7B-CCCA30464A8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4392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0FD68CA-5637-4712-BABD-05E96DCD3B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140989" y="1944000"/>
            <a:ext cx="2721600" cy="2664000"/>
          </a:xfrm>
          <a:custGeom>
            <a:avLst/>
            <a:gdLst>
              <a:gd name="connsiteX0" fmla="*/ 1486800 w 2973600"/>
              <a:gd name="connsiteY0" fmla="*/ 0 h 2973600"/>
              <a:gd name="connsiteX1" fmla="*/ 2973600 w 2973600"/>
              <a:gd name="connsiteY1" fmla="*/ 1486800 h 2973600"/>
              <a:gd name="connsiteX2" fmla="*/ 1486800 w 2973600"/>
              <a:gd name="connsiteY2" fmla="*/ 2973600 h 2973600"/>
              <a:gd name="connsiteX3" fmla="*/ 0 w 2973600"/>
              <a:gd name="connsiteY3" fmla="*/ 1486800 h 2973600"/>
              <a:gd name="connsiteX4" fmla="*/ 1486800 w 2973600"/>
              <a:gd name="connsiteY4" fmla="*/ 0 h 297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600" h="2973600">
                <a:moveTo>
                  <a:pt x="1486800" y="0"/>
                </a:moveTo>
                <a:cubicBezTo>
                  <a:pt x="2307937" y="0"/>
                  <a:pt x="2973600" y="665663"/>
                  <a:pt x="2973600" y="1486800"/>
                </a:cubicBezTo>
                <a:cubicBezTo>
                  <a:pt x="2973600" y="2307937"/>
                  <a:pt x="2307937" y="2973600"/>
                  <a:pt x="1486800" y="2973600"/>
                </a:cubicBezTo>
                <a:cubicBezTo>
                  <a:pt x="665663" y="2973600"/>
                  <a:pt x="0" y="2307937"/>
                  <a:pt x="0" y="1486800"/>
                </a:cubicBezTo>
                <a:cubicBezTo>
                  <a:pt x="0" y="665663"/>
                  <a:pt x="665663" y="0"/>
                  <a:pt x="1486800" y="0"/>
                </a:cubicBezTo>
                <a:close/>
              </a:path>
            </a:pathLst>
          </a:custGeom>
        </p:spPr>
        <p:txBody>
          <a:bodyPr wrap="square" bIns="504000" anchor="ctr">
            <a:noAutofit/>
          </a:bodyPr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B81787D8-AACD-4182-9B1C-706B7FA5B2F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40989" y="4708800"/>
            <a:ext cx="2721600" cy="11052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901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1200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3827463"/>
            <a:ext cx="27216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267796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A9E9979-248E-4746-8425-8D44D1E796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67796" y="3827463"/>
            <a:ext cx="27216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04392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049D639-BFD2-4CC0-8424-B791511A50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4392" y="3827463"/>
            <a:ext cx="27216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9140989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E52081B8-FFAB-490A-9295-579843631D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140989" y="3827463"/>
            <a:ext cx="27216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C9A43077-8463-4968-88C4-11AE5FC21D2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833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: Content &amp;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FA34FC-800B-4412-BE57-3FBDBC0B25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228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FA34FC-800B-4412-BE57-3FBDBC0B25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DFB6E3-5DA8-4BE6-9CDD-DD17AEFCE9D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67" y="1931195"/>
            <a:ext cx="11520000" cy="343099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BCB2B921-614D-48F2-9546-B278025F17EE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9pPr>
              <a:defRPr sz="900"/>
            </a:lvl9pPr>
          </a:lstStyle>
          <a:p>
            <a:pPr lvl="8"/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62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/>
          </p:nvPr>
        </p:nvSpPr>
        <p:spPr bwMode="gray">
          <a:xfrm>
            <a:off x="332362" y="5453068"/>
            <a:ext cx="11520000" cy="46037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090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1200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3827462"/>
            <a:ext cx="17568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74847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A9E9979-248E-4746-8425-8D44D1E796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774847" y="3827462"/>
            <a:ext cx="17568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218494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049D639-BFD2-4CC0-8424-B791511A50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18494" y="3827462"/>
            <a:ext cx="17568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662141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E52081B8-FFAB-490A-9295-579843631D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662141" y="3827462"/>
            <a:ext cx="17568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994AE89A-301F-4C26-92ED-B2EC1B81C7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105789" y="2552400"/>
            <a:ext cx="914400" cy="914400"/>
          </a:xfrm>
        </p:spPr>
        <p:txBody>
          <a:bodyPr lIns="0" tIns="0" rIns="0" bIns="0"/>
          <a:lstStyle>
            <a:lvl1pPr algn="ctr">
              <a:defRPr sz="8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D300B7C1-8FE5-4B19-8D3E-BBDE06098E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0105789" y="3827462"/>
            <a:ext cx="1756800" cy="1685925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3342590-42A3-4E78-9950-B9D9986172B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013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4800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2400" y="1929600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96763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A9E9979-248E-4746-8425-8D44D1E796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94363" y="1929600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458725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049D639-BFD2-4CC0-8424-B791511A50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56325" y="1929600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4800" y="3829844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E52081B8-FFAB-490A-9295-579843631D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2400" y="3829844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994AE89A-301F-4C26-92ED-B2EC1B81C7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96763" y="3829844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D300B7C1-8FE5-4B19-8D3E-BBDE06098E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94363" y="3829844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D5F0F628-8A10-418E-9B30-5C02EB627E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58725" y="3829844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77AB433-7578-4A04-94CE-256E9DF8144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56325" y="3829844"/>
            <a:ext cx="2808000" cy="14148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64C5B26-A749-427A-8626-9ECBE088C9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034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34800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2400" y="19296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396294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0A9E9979-248E-4746-8425-8D44D1E796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993894" y="19296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457788" y="19296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D049D639-BFD2-4CC0-8424-B791511A50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55388" y="19296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4800" y="32724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E52081B8-FFAB-490A-9295-579843631D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32400" y="32724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Picture Placeholder 10">
            <a:extLst>
              <a:ext uri="{FF2B5EF4-FFF2-40B4-BE49-F238E27FC236}">
                <a16:creationId xmlns:a16="http://schemas.microsoft.com/office/drawing/2014/main" id="{994AE89A-301F-4C26-92ED-B2EC1B81C7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96294" y="32724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D300B7C1-8FE5-4B19-8D3E-BBDE06098E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93894" y="32724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Picture Placeholder 10">
            <a:extLst>
              <a:ext uri="{FF2B5EF4-FFF2-40B4-BE49-F238E27FC236}">
                <a16:creationId xmlns:a16="http://schemas.microsoft.com/office/drawing/2014/main" id="{D5F0F628-8A10-418E-9B30-5C02EB627E1C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457788" y="32724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677AB433-7578-4A04-94CE-256E9DF8144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55388" y="32724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4C864FEE-0A1C-4897-8B82-F45359452B14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34800" y="46152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FBC895BB-D162-4E65-9A05-7277A36BC032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32400" y="46152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1F21B681-AA7C-40DE-8FD3-7B067F1B9F82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4396294" y="46152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D6CD389E-53C9-4827-B43F-AE5D96E283D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993894" y="46152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6" name="Picture Placeholder 10">
            <a:extLst>
              <a:ext uri="{FF2B5EF4-FFF2-40B4-BE49-F238E27FC236}">
                <a16:creationId xmlns:a16="http://schemas.microsoft.com/office/drawing/2014/main" id="{1E8F4191-056B-4619-9288-972A95E4D9D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457788" y="46152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C6A43FA3-4FF5-4557-967D-6FB6ECC3357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055388" y="4615200"/>
            <a:ext cx="2808000" cy="8604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EAB8C8AA-5479-4E03-B260-4B35C2BB4F3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7993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: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17F53BD8-37C5-48ED-B4A6-D7482E31399E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1199" y="1929600"/>
            <a:ext cx="3701051" cy="360000"/>
          </a:xfrm>
          <a:prstGeom prst="homePlat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41D5ECEA-2E5E-4D71-841F-95A2A0D97798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245975" y="1929600"/>
            <a:ext cx="3701051" cy="360000"/>
          </a:xfrm>
          <a:prstGeom prst="chevron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41C7270-2AD5-4174-9BB6-40887670ECE3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160749" y="1929600"/>
            <a:ext cx="3701051" cy="360000"/>
          </a:xfrm>
          <a:prstGeom prst="chevron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E6F51FA5-7813-4436-9E2D-0AA10EED350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1200" y="2401200"/>
            <a:ext cx="3701050" cy="3110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E6214208-AE04-4F1F-B879-DC21F5861A5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45975" y="2401200"/>
            <a:ext cx="3701050" cy="3110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C5BC1243-5335-403B-A737-9CF168164EF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60749" y="2401200"/>
            <a:ext cx="3701050" cy="31104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C01AE2CA-8A5F-4992-AB7D-3C309899A56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180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: five text boxe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907891A7-3AF7-4352-8C25-93B984B9D5F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338400" y="5227200"/>
            <a:ext cx="11520000" cy="0"/>
          </a:xfrm>
          <a:custGeom>
            <a:avLst/>
            <a:gdLst>
              <a:gd name="connsiteX0" fmla="*/ 0 w 2066400"/>
              <a:gd name="connsiteY0" fmla="*/ 0 h 118800"/>
              <a:gd name="connsiteX1" fmla="*/ 2066400 w 2066400"/>
              <a:gd name="connsiteY1" fmla="*/ 0 h 118800"/>
              <a:gd name="connsiteX2" fmla="*/ 2066400 w 2066400"/>
              <a:gd name="connsiteY2" fmla="*/ 118800 h 118800"/>
              <a:gd name="connsiteX3" fmla="*/ 0 w 2066400"/>
              <a:gd name="connsiteY3" fmla="*/ 118800 h 118800"/>
              <a:gd name="connsiteX4" fmla="*/ 0 w 2066400"/>
              <a:gd name="connsiteY4" fmla="*/ 0 h 118800"/>
              <a:gd name="connsiteX0" fmla="*/ 2066400 w 2157840"/>
              <a:gd name="connsiteY0" fmla="*/ 118800 h 210240"/>
              <a:gd name="connsiteX1" fmla="*/ 0 w 2157840"/>
              <a:gd name="connsiteY1" fmla="*/ 118800 h 210240"/>
              <a:gd name="connsiteX2" fmla="*/ 0 w 2157840"/>
              <a:gd name="connsiteY2" fmla="*/ 0 h 210240"/>
              <a:gd name="connsiteX3" fmla="*/ 2066400 w 2157840"/>
              <a:gd name="connsiteY3" fmla="*/ 0 h 210240"/>
              <a:gd name="connsiteX4" fmla="*/ 2157840 w 2157840"/>
              <a:gd name="connsiteY4" fmla="*/ 210240 h 210240"/>
              <a:gd name="connsiteX0" fmla="*/ 2066400 w 2066400"/>
              <a:gd name="connsiteY0" fmla="*/ 118800 h 118800"/>
              <a:gd name="connsiteX1" fmla="*/ 0 w 2066400"/>
              <a:gd name="connsiteY1" fmla="*/ 118800 h 118800"/>
              <a:gd name="connsiteX2" fmla="*/ 0 w 2066400"/>
              <a:gd name="connsiteY2" fmla="*/ 0 h 118800"/>
              <a:gd name="connsiteX3" fmla="*/ 2066400 w 2066400"/>
              <a:gd name="connsiteY3" fmla="*/ 0 h 118800"/>
              <a:gd name="connsiteX0" fmla="*/ 0 w 2066400"/>
              <a:gd name="connsiteY0" fmla="*/ 118800 h 118800"/>
              <a:gd name="connsiteX1" fmla="*/ 0 w 2066400"/>
              <a:gd name="connsiteY1" fmla="*/ 0 h 118800"/>
              <a:gd name="connsiteX2" fmla="*/ 2066400 w 2066400"/>
              <a:gd name="connsiteY2" fmla="*/ 0 h 118800"/>
              <a:gd name="connsiteX0" fmla="*/ 0 w 2066400"/>
              <a:gd name="connsiteY0" fmla="*/ 0 h 0"/>
              <a:gd name="connsiteX1" fmla="*/ 2066400 w 20664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66400">
                <a:moveTo>
                  <a:pt x="0" y="0"/>
                </a:moveTo>
                <a:lnTo>
                  <a:pt x="2066400" y="0"/>
                </a:lnTo>
              </a:path>
            </a:pathLst>
          </a:custGeom>
          <a:ln w="15875">
            <a:solidFill>
              <a:schemeClr val="accent4"/>
            </a:solidFill>
            <a:tailEnd type="arrow" w="med" len="sm"/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116A6796-F195-444B-8CAF-9408872890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312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6A84518F-EB08-4F36-8400-95AB01D381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24447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C503EA10-D1F3-4AA4-8CED-AEE30E121F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117694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DF438A3D-D3E1-4D5D-BA34-887EAEB994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510941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3EDD5930-9373-4D21-B203-C97F69292A1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904189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4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1929600"/>
            <a:ext cx="1957975" cy="3099600"/>
          </a:xfrm>
        </p:spPr>
        <p:txBody>
          <a:bodyPr lIns="0" tIns="0" rIns="0" bIns="0" anchor="b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E7A1D2-DAC3-46BE-AA9A-E1EB0825207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24129" y="1929600"/>
            <a:ext cx="1958400" cy="3099600"/>
          </a:xfrm>
        </p:spPr>
        <p:txBody>
          <a:bodyPr lIns="0" tIns="0" rIns="0" bIns="0" anchor="b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F0CC0E-6E4F-4BBB-AC3B-74E8C12627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117483" y="1929600"/>
            <a:ext cx="1958400" cy="3099600"/>
          </a:xfrm>
        </p:spPr>
        <p:txBody>
          <a:bodyPr lIns="0" tIns="0" rIns="0" bIns="0" anchor="b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46DB502-496B-4374-80BE-F2A5D51992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510837" y="1929600"/>
            <a:ext cx="1958400" cy="3099600"/>
          </a:xfrm>
        </p:spPr>
        <p:txBody>
          <a:bodyPr lIns="0" tIns="0" rIns="0" bIns="0" anchor="b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B72E113-B74F-4C8D-B9C6-1799A1DAE1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904189" y="1929600"/>
            <a:ext cx="1958400" cy="3099600"/>
          </a:xfrm>
        </p:spPr>
        <p:txBody>
          <a:bodyPr lIns="0" tIns="0" rIns="0" bIns="0" anchor="b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AE4540D-5837-4887-82D2-ADB1E470A04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200" y="5421600"/>
            <a:ext cx="1958400" cy="392400"/>
          </a:xfrm>
        </p:spPr>
        <p:txBody>
          <a:bodyPr lIns="0" tIns="0" rIns="0" bIns="0" anchor="t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41512B5-B055-451B-A63A-61AC3D27A7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24447" y="5421600"/>
            <a:ext cx="1958400" cy="392400"/>
          </a:xfrm>
        </p:spPr>
        <p:txBody>
          <a:bodyPr lIns="0" tIns="0" rIns="0" bIns="0" anchor="t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272552C-9A92-45B5-9658-E0A7758AE5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17694" y="5421600"/>
            <a:ext cx="1958400" cy="392400"/>
          </a:xfrm>
        </p:spPr>
        <p:txBody>
          <a:bodyPr lIns="0" tIns="0" rIns="0" bIns="0" anchor="t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B93E5512-D171-4A0F-A84D-1429CB1B24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510941" y="5421600"/>
            <a:ext cx="1958400" cy="392400"/>
          </a:xfrm>
        </p:spPr>
        <p:txBody>
          <a:bodyPr lIns="0" tIns="0" rIns="0" bIns="0" anchor="t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19BB1C7-BB18-4D53-B7FD-0B43DE543E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904189" y="5421600"/>
            <a:ext cx="1958400" cy="392400"/>
          </a:xfrm>
        </p:spPr>
        <p:txBody>
          <a:bodyPr lIns="0" tIns="0" rIns="0" bIns="0" anchor="t"/>
          <a:lstStyle>
            <a:lvl1pPr>
              <a:defRPr sz="14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8196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: seven text boxes &amp;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9AE4540D-5837-4887-82D2-ADB1E470A04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12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441512B5-B055-451B-A63A-61AC3D27A77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806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1272552C-9A92-45B5-9658-E0A7758AE5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6300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B93E5512-D171-4A0F-A84D-1429CB1B240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2794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A19BB1C7-BB18-4D53-B7FD-0B43DE543E7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288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6189B57F-C66A-4C80-8E4E-09199BDEEA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5782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6FC8D2EC-39D1-4154-8306-67F231081AD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0227600" y="5400000"/>
            <a:ext cx="1296000" cy="392400"/>
          </a:xfrm>
        </p:spPr>
        <p:txBody>
          <a:bodyPr lIns="0" tIns="0" rIns="0" bIns="0" anchor="t"/>
          <a:lstStyle>
            <a:lvl1pPr>
              <a:defRPr sz="1000" b="1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A4C85EBA-3628-4B96-A145-783BC7DB501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38400" y="5227200"/>
            <a:ext cx="11520000" cy="0"/>
          </a:xfrm>
          <a:custGeom>
            <a:avLst/>
            <a:gdLst>
              <a:gd name="connsiteX0" fmla="*/ 0 w 11520000"/>
              <a:gd name="connsiteY0" fmla="*/ 0 h 392400"/>
              <a:gd name="connsiteX1" fmla="*/ 11520000 w 11520000"/>
              <a:gd name="connsiteY1" fmla="*/ 0 h 392400"/>
              <a:gd name="connsiteX2" fmla="*/ 11520000 w 11520000"/>
              <a:gd name="connsiteY2" fmla="*/ 392400 h 392400"/>
              <a:gd name="connsiteX3" fmla="*/ 0 w 11520000"/>
              <a:gd name="connsiteY3" fmla="*/ 392400 h 392400"/>
              <a:gd name="connsiteX4" fmla="*/ 0 w 11520000"/>
              <a:gd name="connsiteY4" fmla="*/ 0 h 392400"/>
              <a:gd name="connsiteX0" fmla="*/ 11520000 w 11611440"/>
              <a:gd name="connsiteY0" fmla="*/ 392400 h 483840"/>
              <a:gd name="connsiteX1" fmla="*/ 0 w 11611440"/>
              <a:gd name="connsiteY1" fmla="*/ 392400 h 483840"/>
              <a:gd name="connsiteX2" fmla="*/ 0 w 11611440"/>
              <a:gd name="connsiteY2" fmla="*/ 0 h 483840"/>
              <a:gd name="connsiteX3" fmla="*/ 11520000 w 11611440"/>
              <a:gd name="connsiteY3" fmla="*/ 0 h 483840"/>
              <a:gd name="connsiteX4" fmla="*/ 11611440 w 11611440"/>
              <a:gd name="connsiteY4" fmla="*/ 483840 h 483840"/>
              <a:gd name="connsiteX0" fmla="*/ 11520000 w 11520000"/>
              <a:gd name="connsiteY0" fmla="*/ 392400 h 392400"/>
              <a:gd name="connsiteX1" fmla="*/ 0 w 11520000"/>
              <a:gd name="connsiteY1" fmla="*/ 392400 h 392400"/>
              <a:gd name="connsiteX2" fmla="*/ 0 w 11520000"/>
              <a:gd name="connsiteY2" fmla="*/ 0 h 392400"/>
              <a:gd name="connsiteX3" fmla="*/ 11520000 w 11520000"/>
              <a:gd name="connsiteY3" fmla="*/ 0 h 392400"/>
              <a:gd name="connsiteX0" fmla="*/ 0 w 11520000"/>
              <a:gd name="connsiteY0" fmla="*/ 392400 h 392400"/>
              <a:gd name="connsiteX1" fmla="*/ 0 w 11520000"/>
              <a:gd name="connsiteY1" fmla="*/ 0 h 392400"/>
              <a:gd name="connsiteX2" fmla="*/ 11520000 w 11520000"/>
              <a:gd name="connsiteY2" fmla="*/ 0 h 392400"/>
              <a:gd name="connsiteX0" fmla="*/ 0 w 11520000"/>
              <a:gd name="connsiteY0" fmla="*/ 0 h 0"/>
              <a:gd name="connsiteX1" fmla="*/ 11520000 w 11520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520000">
                <a:moveTo>
                  <a:pt x="0" y="0"/>
                </a:moveTo>
                <a:lnTo>
                  <a:pt x="11520000" y="0"/>
                </a:lnTo>
              </a:path>
            </a:pathLst>
          </a:custGeom>
          <a:ln w="15875">
            <a:solidFill>
              <a:schemeClr val="accent4"/>
            </a:solidFill>
            <a:tailEnd type="arrow" w="med" len="sm"/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24B2DA46-341A-4D4F-9970-F7FCB405515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8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ED18986-BEAB-4E6C-81DE-64316E13BD0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836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DAF1745E-D93E-4B2F-BF38-5CD3330E040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6324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429D6633-25A8-4FC0-B518-3616DF6C653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2812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ACF9310C-4C08-4791-82FA-D88032731F3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9300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190FAD99-82FB-4521-87C2-193E1163DE9E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5788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70230B34-0C99-4086-AE59-3593C6921A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227600" y="51732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 anchor="t"/>
          <a:lstStyle>
            <a:lvl1pPr>
              <a:defRPr sz="1000" b="1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1200" y="1916102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5AE7A1D2-DAC3-46BE-AA9A-E1EB0825207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80600" y="1916102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CF0CC0E-6E4F-4BBB-AC3B-74E8C12627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30000" y="1929600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F46DB502-496B-4374-80BE-F2A5D51992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279400" y="1929600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B72E113-B74F-4C8D-B9C6-1799A1DAE15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928800" y="1929600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FE86579E-E5FB-4B48-A02E-380334B3B7D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78200" y="1929600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4FB5AF6E-663D-4AEE-B328-405A089F5CC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227600" y="1929600"/>
            <a:ext cx="1296000" cy="3099600"/>
          </a:xfrm>
        </p:spPr>
        <p:txBody>
          <a:bodyPr lIns="0" tIns="0" rIns="0" bIns="0" anchor="b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100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: five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0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4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38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994AE89A-301F-4C26-92ED-B2EC1B81C7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72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5CE67186-CCF3-4DDD-89EF-CB4B536BBBF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94000" y="3258000"/>
            <a:ext cx="11264400" cy="0"/>
          </a:xfrm>
          <a:custGeom>
            <a:avLst/>
            <a:gdLst>
              <a:gd name="connsiteX0" fmla="*/ 0 w 7652632"/>
              <a:gd name="connsiteY0" fmla="*/ 0 h 174512"/>
              <a:gd name="connsiteX1" fmla="*/ 7652632 w 7652632"/>
              <a:gd name="connsiteY1" fmla="*/ 0 h 174512"/>
              <a:gd name="connsiteX2" fmla="*/ 7652632 w 7652632"/>
              <a:gd name="connsiteY2" fmla="*/ 174512 h 174512"/>
              <a:gd name="connsiteX3" fmla="*/ 0 w 7652632"/>
              <a:gd name="connsiteY3" fmla="*/ 174512 h 174512"/>
              <a:gd name="connsiteX4" fmla="*/ 0 w 7652632"/>
              <a:gd name="connsiteY4" fmla="*/ 0 h 174512"/>
              <a:gd name="connsiteX0" fmla="*/ 0 w 7652632"/>
              <a:gd name="connsiteY0" fmla="*/ 174512 h 265952"/>
              <a:gd name="connsiteX1" fmla="*/ 0 w 7652632"/>
              <a:gd name="connsiteY1" fmla="*/ 0 h 265952"/>
              <a:gd name="connsiteX2" fmla="*/ 7652632 w 7652632"/>
              <a:gd name="connsiteY2" fmla="*/ 0 h 265952"/>
              <a:gd name="connsiteX3" fmla="*/ 7652632 w 7652632"/>
              <a:gd name="connsiteY3" fmla="*/ 174512 h 265952"/>
              <a:gd name="connsiteX4" fmla="*/ 91440 w 7652632"/>
              <a:gd name="connsiteY4" fmla="*/ 265952 h 265952"/>
              <a:gd name="connsiteX0" fmla="*/ 0 w 7652632"/>
              <a:gd name="connsiteY0" fmla="*/ 174512 h 174512"/>
              <a:gd name="connsiteX1" fmla="*/ 0 w 7652632"/>
              <a:gd name="connsiteY1" fmla="*/ 0 h 174512"/>
              <a:gd name="connsiteX2" fmla="*/ 7652632 w 7652632"/>
              <a:gd name="connsiteY2" fmla="*/ 0 h 174512"/>
              <a:gd name="connsiteX3" fmla="*/ 7652632 w 7652632"/>
              <a:gd name="connsiteY3" fmla="*/ 174512 h 174512"/>
              <a:gd name="connsiteX0" fmla="*/ 0 w 7652632"/>
              <a:gd name="connsiteY0" fmla="*/ 0 h 174512"/>
              <a:gd name="connsiteX1" fmla="*/ 7652632 w 7652632"/>
              <a:gd name="connsiteY1" fmla="*/ 0 h 174512"/>
              <a:gd name="connsiteX2" fmla="*/ 7652632 w 7652632"/>
              <a:gd name="connsiteY2" fmla="*/ 174512 h 174512"/>
              <a:gd name="connsiteX0" fmla="*/ 0 w 7652632"/>
              <a:gd name="connsiteY0" fmla="*/ 0 h 0"/>
              <a:gd name="connsiteX1" fmla="*/ 7652632 w 765263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652632">
                <a:moveTo>
                  <a:pt x="0" y="0"/>
                </a:moveTo>
                <a:lnTo>
                  <a:pt x="7652632" y="0"/>
                </a:lnTo>
              </a:path>
            </a:pathLst>
          </a:custGeom>
          <a:ln w="15875">
            <a:solidFill>
              <a:schemeClr val="accent4"/>
            </a:solidFill>
            <a:tailEnd type="arrow" w="med" len="sm"/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976CC6DF-7551-4B6C-A618-D58E9805CE9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4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55E7D41C-3046-4F7E-8B69-F4C83361509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88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DAC75856-6BC0-4D21-AF0C-407CC2A0304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2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ECF624F4-7D6E-415F-B67F-32ED309EB60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56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1">
            <a:extLst>
              <a:ext uri="{FF2B5EF4-FFF2-40B4-BE49-F238E27FC236}">
                <a16:creationId xmlns:a16="http://schemas.microsoft.com/office/drawing/2014/main" id="{EB82237B-1203-4191-BF1A-5B4068747CF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90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3600" y="3420000"/>
            <a:ext cx="1756800" cy="2757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A9E9979-248E-4746-8425-8D44D1E7963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83600" y="3420000"/>
            <a:ext cx="1756800" cy="2757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D049D639-BFD2-4CC0-8424-B791511A50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23600" y="3420000"/>
            <a:ext cx="1756800" cy="2757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E52081B8-FFAB-490A-9295-579843631D2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563600" y="3420000"/>
            <a:ext cx="1756800" cy="2757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D300B7C1-8FE5-4B19-8D3E-BBDE06098E6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903600" y="3420000"/>
            <a:ext cx="1756800" cy="2757600"/>
          </a:xfrm>
        </p:spPr>
        <p:txBody>
          <a:bodyPr lIns="0" tIns="0" rIns="0" bIns="0"/>
          <a:lstStyle>
            <a:lvl1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4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3814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: eight icons &amp;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9F115F95-ABE8-402C-A02F-266D5B211E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 bwMode="gray">
          <a:xfrm>
            <a:off x="558000" y="3258000"/>
            <a:ext cx="11296800" cy="0"/>
          </a:xfrm>
          <a:custGeom>
            <a:avLst/>
            <a:gdLst>
              <a:gd name="connsiteX0" fmla="*/ 0 w 1152000"/>
              <a:gd name="connsiteY0" fmla="*/ 0 h 93031"/>
              <a:gd name="connsiteX1" fmla="*/ 1152000 w 1152000"/>
              <a:gd name="connsiteY1" fmla="*/ 0 h 93031"/>
              <a:gd name="connsiteX2" fmla="*/ 1152000 w 1152000"/>
              <a:gd name="connsiteY2" fmla="*/ 93031 h 93031"/>
              <a:gd name="connsiteX3" fmla="*/ 0 w 1152000"/>
              <a:gd name="connsiteY3" fmla="*/ 93031 h 93031"/>
              <a:gd name="connsiteX4" fmla="*/ 0 w 1152000"/>
              <a:gd name="connsiteY4" fmla="*/ 0 h 93031"/>
              <a:gd name="connsiteX0" fmla="*/ 1152000 w 1243440"/>
              <a:gd name="connsiteY0" fmla="*/ 93031 h 184471"/>
              <a:gd name="connsiteX1" fmla="*/ 0 w 1243440"/>
              <a:gd name="connsiteY1" fmla="*/ 93031 h 184471"/>
              <a:gd name="connsiteX2" fmla="*/ 0 w 1243440"/>
              <a:gd name="connsiteY2" fmla="*/ 0 h 184471"/>
              <a:gd name="connsiteX3" fmla="*/ 1152000 w 1243440"/>
              <a:gd name="connsiteY3" fmla="*/ 0 h 184471"/>
              <a:gd name="connsiteX4" fmla="*/ 1243440 w 1243440"/>
              <a:gd name="connsiteY4" fmla="*/ 184471 h 184471"/>
              <a:gd name="connsiteX0" fmla="*/ 1152000 w 1152000"/>
              <a:gd name="connsiteY0" fmla="*/ 93031 h 93031"/>
              <a:gd name="connsiteX1" fmla="*/ 0 w 1152000"/>
              <a:gd name="connsiteY1" fmla="*/ 93031 h 93031"/>
              <a:gd name="connsiteX2" fmla="*/ 0 w 1152000"/>
              <a:gd name="connsiteY2" fmla="*/ 0 h 93031"/>
              <a:gd name="connsiteX3" fmla="*/ 1152000 w 1152000"/>
              <a:gd name="connsiteY3" fmla="*/ 0 h 93031"/>
              <a:gd name="connsiteX0" fmla="*/ 0 w 1152000"/>
              <a:gd name="connsiteY0" fmla="*/ 93031 h 93031"/>
              <a:gd name="connsiteX1" fmla="*/ 0 w 1152000"/>
              <a:gd name="connsiteY1" fmla="*/ 0 h 93031"/>
              <a:gd name="connsiteX2" fmla="*/ 1152000 w 1152000"/>
              <a:gd name="connsiteY2" fmla="*/ 0 h 93031"/>
              <a:gd name="connsiteX0" fmla="*/ 0 w 1152000"/>
              <a:gd name="connsiteY0" fmla="*/ 0 h 0"/>
              <a:gd name="connsiteX1" fmla="*/ 1152000 w 11520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52000">
                <a:moveTo>
                  <a:pt x="0" y="0"/>
                </a:moveTo>
                <a:lnTo>
                  <a:pt x="1152000" y="0"/>
                </a:lnTo>
              </a:path>
            </a:pathLst>
          </a:custGeom>
          <a:ln w="15875">
            <a:solidFill>
              <a:schemeClr val="accent4"/>
            </a:solidFill>
            <a:tailEnd type="arrow" w="med" len="sm"/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BF765AB-40ED-47AF-8160-91C7A2FA6D0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72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7EED09D4-E380-4A7C-846A-59CC78C71D9B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789714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00F97195-D372-415F-88C4-B0B8FB85624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212228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334E3EA7-307D-4F31-A26B-D859C8B762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634742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994AE89A-301F-4C26-92ED-B2EC1B81C77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57256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BE766B07-3708-4890-9255-CC2A2A5CECBF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47977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65E2D852-BE36-42A3-A2B8-94EA0CA4EE6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902284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2" name="Picture Placeholder 10">
            <a:extLst>
              <a:ext uri="{FF2B5EF4-FFF2-40B4-BE49-F238E27FC236}">
                <a16:creationId xmlns:a16="http://schemas.microsoft.com/office/drawing/2014/main" id="{47866753-9238-4EF3-9507-1A1A08058E9C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0324800" y="2628000"/>
            <a:ext cx="457200" cy="457200"/>
          </a:xfrm>
        </p:spPr>
        <p:txBody>
          <a:bodyPr lIns="0" tIns="0" rIns="0" bIns="0"/>
          <a:lstStyle>
            <a:lvl1pPr algn="ctr">
              <a:defRPr sz="700" b="1"/>
            </a:lvl1pPr>
          </a:lstStyle>
          <a:p>
            <a:r>
              <a:rPr lang="en-US" noProof="0" dirty="0"/>
              <a:t>Please add ic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C6B1807F-9211-4322-A9DE-43E7460326F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436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713703C9-52F7-41B2-8F89-4F2E87FC5B78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1966114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11">
            <a:extLst>
              <a:ext uri="{FF2B5EF4-FFF2-40B4-BE49-F238E27FC236}">
                <a16:creationId xmlns:a16="http://schemas.microsoft.com/office/drawing/2014/main" id="{CD7859A9-DEAC-44BA-90B2-C59341DD7AA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388628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F2B89E32-E735-4545-BDE1-3CA3BEDF7DE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811142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9" name="Text Placeholder 11">
            <a:extLst>
              <a:ext uri="{FF2B5EF4-FFF2-40B4-BE49-F238E27FC236}">
                <a16:creationId xmlns:a16="http://schemas.microsoft.com/office/drawing/2014/main" id="{79DB9110-B5F8-423A-A697-8591E76C9E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33656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4A113945-5C37-4C98-9F22-2E8E222896F0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65617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" name="Text Placeholder 11">
            <a:extLst>
              <a:ext uri="{FF2B5EF4-FFF2-40B4-BE49-F238E27FC236}">
                <a16:creationId xmlns:a16="http://schemas.microsoft.com/office/drawing/2014/main" id="{6CFB8023-5E64-4185-A3F2-D0F8FCB194A8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9078684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2" name="Text Placeholder 11">
            <a:extLst>
              <a:ext uri="{FF2B5EF4-FFF2-40B4-BE49-F238E27FC236}">
                <a16:creationId xmlns:a16="http://schemas.microsoft.com/office/drawing/2014/main" id="{E41837A5-5A9E-4304-9788-7F565C60244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0501200" y="3204000"/>
            <a:ext cx="108000" cy="108000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txBody>
          <a:bodyPr lIns="0" tIns="0" rIns="0" bIns="0"/>
          <a:lstStyle>
            <a:lvl1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>
              <a:defRPr sz="1000" b="0">
                <a:noFill/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052090D4-EA65-4144-A397-14AB024F1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3600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4D6AB49F-5CDC-4EA4-8AD2-A427B0E0BBA5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6114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2" name="Text Placeholder 11">
            <a:extLst>
              <a:ext uri="{FF2B5EF4-FFF2-40B4-BE49-F238E27FC236}">
                <a16:creationId xmlns:a16="http://schemas.microsoft.com/office/drawing/2014/main" id="{F463238E-B23C-4F7A-B1CE-7F163AD95E4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388628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5DB448C2-2659-44FA-83F9-45594F8D949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811142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4" name="Text Placeholder 11">
            <a:extLst>
              <a:ext uri="{FF2B5EF4-FFF2-40B4-BE49-F238E27FC236}">
                <a16:creationId xmlns:a16="http://schemas.microsoft.com/office/drawing/2014/main" id="{0790F9F6-D5F4-45A2-A221-F081E5C91D0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233656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5" name="Text Placeholder 11">
            <a:extLst>
              <a:ext uri="{FF2B5EF4-FFF2-40B4-BE49-F238E27FC236}">
                <a16:creationId xmlns:a16="http://schemas.microsoft.com/office/drawing/2014/main" id="{D2ADD6FC-36B5-4CFB-851C-0D31F197AB4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656170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6" name="Text Placeholder 11">
            <a:extLst>
              <a:ext uri="{FF2B5EF4-FFF2-40B4-BE49-F238E27FC236}">
                <a16:creationId xmlns:a16="http://schemas.microsoft.com/office/drawing/2014/main" id="{021BC5A5-67A6-48CA-A81C-99793628929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078684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7" name="Text Placeholder 11">
            <a:extLst>
              <a:ext uri="{FF2B5EF4-FFF2-40B4-BE49-F238E27FC236}">
                <a16:creationId xmlns:a16="http://schemas.microsoft.com/office/drawing/2014/main" id="{FB6B97BC-758E-4B5D-BE93-360237912AC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0501200" y="3420000"/>
            <a:ext cx="1152000" cy="2757600"/>
          </a:xfrm>
        </p:spPr>
        <p:txBody>
          <a:bodyPr lIns="0" tIns="0" rIns="0" bIns="0"/>
          <a:lstStyle>
            <a:lvl1pPr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108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2pPr>
            <a:lvl3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3pPr>
            <a:lvl4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4pPr>
            <a:lvl5pPr marL="216000" indent="-108000">
              <a:defRPr sz="1000" b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8650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8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9" y="1057498"/>
            <a:ext cx="11530800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pl-PL" noProof="0"/>
              <a:t>Click to add subtitle</a:t>
            </a:r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B2016A11-4950-4F3F-938B-45DEE5F72969}" type="datetime4">
              <a:rPr lang="en-US" noProof="0" smtClean="0"/>
              <a:pPr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3776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993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: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C0BBB9F-DCBC-435F-8E47-7EF8E93D7E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699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C0BBB9F-DCBC-435F-8E47-7EF8E93D7E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AA3A66A-E7B3-4EBC-9D07-B4D6502A713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>
            <a:lvl9pPr>
              <a:defRPr sz="900"/>
            </a:lvl9pPr>
          </a:lstStyle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fld id="{DDA21142-3DFF-44D4-84BF-0A5A958541AB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4139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6"/>
          </p:nvPr>
        </p:nvSpPr>
        <p:spPr bwMode="gray">
          <a:xfrm>
            <a:off x="332368" y="1931192"/>
            <a:ext cx="115200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15"/>
          <p:cNvSpPr>
            <a:spLocks noGrp="1"/>
          </p:cNvSpPr>
          <p:nvPr>
            <p:ph sz="quarter" idx="19"/>
          </p:nvPr>
        </p:nvSpPr>
        <p:spPr bwMode="gray">
          <a:xfrm>
            <a:off x="332367" y="2317637"/>
            <a:ext cx="11520000" cy="3594212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332368" y="2238495"/>
            <a:ext cx="1152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320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Logo">
            <a:extLst>
              <a:ext uri="{FF2B5EF4-FFF2-40B4-BE49-F238E27FC236}">
                <a16:creationId xmlns:a16="http://schemas.microsoft.com/office/drawing/2014/main" id="{BD622A39-4236-4AD5-88CF-54333D308F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49000" y="2793222"/>
            <a:ext cx="3294000" cy="1263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24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56188" y="1336538"/>
            <a:ext cx="2772000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BBvoice" panose="020D0603020503020204" pitchFamily="34" charset="0"/>
              </a:rPr>
              <a:t>PICTURES</a:t>
            </a:r>
            <a:br>
              <a:rPr lang="en-GB" sz="900" dirty="0">
                <a:latin typeface="+mn-lt"/>
                <a:cs typeface="ABBvoice" panose="020D0603020503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sert corporate picture from Templafy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emplafy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button to view T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emplafy pane on right side of the screen, if it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s not already the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elect picture placeholder by clicking on the frame (at the edg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3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in the Templafy pane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endParaRPr lang="en-GB" altLang="da-DK" sz="900" b="0" baseline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n slides with pictureplaceholder, click on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he icon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o browse for pictur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o change size or focus of th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BBvoice" panose="020D0603020503020204" pitchFamily="34" charset="0"/>
              </a:rPr>
              <a:t>GUIDES</a:t>
            </a:r>
            <a:endParaRPr lang="en-GB" sz="1600" b="1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ABBvoice" panose="020D0603020503020204" pitchFamily="34" charset="0"/>
              </a:rPr>
              <a:t>⌘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+ option + ctrl + G</a:t>
            </a: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3A5D5234-21E3-4579-AE5E-A650C0CF9F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65739" y="1784704"/>
            <a:ext cx="305786" cy="36585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065739" y="3869641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72496" y="1336538"/>
            <a:ext cx="2772000" cy="5192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BBvoice" panose="020D0603020503020204" pitchFamily="34" charset="0"/>
              </a:rPr>
              <a:t>HEADER +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Do this at the very end to apply the changes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eader + Footer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ser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ab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(write the desired text, click date or Slid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When copying old content to your new presentation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1. Best practice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ne</a:t>
            </a:r>
            <a:r>
              <a:rPr lang="en-GB" altLang="da-DK" sz="900" b="0" i="0" u="none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extbox)</a:t>
            </a:r>
            <a:endParaRPr lang="en-GB" altLang="da-DK" sz="900" b="1" i="0" u="sng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BBvoice" panose="020D0603020503020204" pitchFamily="34" charset="0"/>
              </a:rPr>
              <a:t>SLIDES +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sert predefined slides and elements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using the Templafy pane. Choos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lides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an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lide elements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from th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buttons in the Templafy pane on th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right side of the screen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31788" y="291401"/>
            <a:ext cx="11317285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chemeClr val="tx1"/>
                </a:solidFill>
                <a:latin typeface="+mj-lt"/>
                <a:cs typeface="ABBvoice" panose="020D0603020503020204" pitchFamily="34" charset="0"/>
              </a:rPr>
              <a:t>TIPS +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944496" y="1959171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D27C8A6-3124-4A11-900D-2C649BB3C7C9}" type="datetime4">
              <a:rPr lang="en-GB" smtClean="0"/>
              <a:t>29 April 2024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5739" y="3152530"/>
            <a:ext cx="341204" cy="321707"/>
          </a:xfrm>
          <a:prstGeom prst="rect">
            <a:avLst/>
          </a:prstGeom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1788" y="1336538"/>
            <a:ext cx="2772000" cy="464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latin typeface="+mn-lt"/>
                <a:cs typeface="ABBvoice" panose="020D0603020503020204" pitchFamily="34" charset="0"/>
              </a:rPr>
              <a:t>TEXT STYLES</a:t>
            </a:r>
            <a:endParaRPr lang="en-GB" altLang="da-DK" sz="16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ENTER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and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list level can be use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endParaRPr lang="en-GB" sz="900" baseline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on the bullet button to reaply the correct bullet again</a:t>
            </a:r>
          </a:p>
          <a:p>
            <a:pPr eaLnBrk="1" hangingPunct="1">
              <a:spcAft>
                <a:spcPts val="600"/>
              </a:spcAft>
              <a:defRPr/>
            </a:pP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sz="1600" dirty="0">
                <a:latin typeface="+mn-lt"/>
                <a:cs typeface="ABBvoice" panose="020D0603020503020204" pitchFamily="34" charset="0"/>
              </a:rPr>
              <a:t>SLIDES +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on the menu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New Slid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i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ome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ab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o insert a new slide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hange layout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BBvoice" panose="020D0603020503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</a:rPr>
              <a:t>Click on the arrow next to 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</a:rPr>
              <a:t>Layout</a:t>
            </a:r>
            <a:br>
              <a:rPr lang="en-GB" sz="900" b="1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</a:rPr>
            </a:br>
            <a:r>
              <a:rPr lang="en-GB" sz="9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</a:rPr>
              <a:t>to view a dropdown menu of possible slide layouts</a:t>
            </a:r>
            <a:br>
              <a:rPr lang="en-GB" sz="900" dirty="0">
                <a:solidFill>
                  <a:srgbClr val="000000"/>
                </a:solidFill>
                <a:latin typeface="+mn-lt"/>
                <a:ea typeface="ABBvoice" panose="020D0603020503020204" pitchFamily="34" charset="0"/>
              </a:rPr>
            </a:br>
            <a:endParaRPr lang="en-GB" sz="900" dirty="0">
              <a:solidFill>
                <a:srgbClr val="000000"/>
              </a:solidFill>
              <a:latin typeface="+mn-lt"/>
              <a:ea typeface="ABBvoice" panose="020D0603020503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Home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tab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Reset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 menu to reset position, size and formatting of the slide placeholders to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BBvoice" panose="020D0603020503020204" pitchFamily="34" charset="0"/>
              </a:rPr>
              <a:t>their default settings</a:t>
            </a:r>
            <a:endParaRPr lang="en-GB" sz="900" dirty="0">
              <a:latin typeface="+mn-lt"/>
              <a:ea typeface="ABBvoice" panose="020D0603020503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055654" y="4701914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55654" y="38475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058352" y="5601211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055654" y="2342337"/>
            <a:ext cx="457143" cy="2571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2A5FDF-69DC-4DD2-BFF8-3478E75DB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5739" y="2537285"/>
            <a:ext cx="437508" cy="36585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28E528-3C21-43A5-9A1F-5FC8A3BB1E92}"/>
              </a:ext>
            </a:extLst>
          </p:cNvPr>
          <p:cNvGrpSpPr/>
          <p:nvPr userDrawn="1"/>
        </p:nvGrpSpPr>
        <p:grpSpPr>
          <a:xfrm>
            <a:off x="10285258" y="5867321"/>
            <a:ext cx="991746" cy="384654"/>
            <a:chOff x="10992821" y="4404000"/>
            <a:chExt cx="1588357" cy="61605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4E7E5B-C2F8-47A1-8626-A6E3264015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92821" y="4404000"/>
              <a:ext cx="1588357" cy="61605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065702C-2099-41C8-904A-A3616CD11C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479578" y="4785230"/>
              <a:ext cx="101600" cy="221441"/>
            </a:xfrm>
            <a:prstGeom prst="rect">
              <a:avLst/>
            </a:prstGeom>
          </p:spPr>
        </p:pic>
      </p:grpSp>
      <p:pic>
        <p:nvPicPr>
          <p:cNvPr id="34" name="Picture 2">
            <a:extLst>
              <a:ext uri="{FF2B5EF4-FFF2-40B4-BE49-F238E27FC236}">
                <a16:creationId xmlns:a16="http://schemas.microsoft.com/office/drawing/2014/main" id="{23C2B142-78D9-4D1A-A62B-85445D78273E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3055654" y="3052205"/>
            <a:ext cx="257143" cy="285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1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0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0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0" y="2578102"/>
            <a:ext cx="11218606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5000" b="1" i="0" noProof="0" dirty="0">
                <a:solidFill>
                  <a:schemeClr val="bg1"/>
                </a:solidFill>
              </a:rPr>
              <a:t>Do not use </a:t>
            </a:r>
            <a:endParaRPr lang="en-GB" sz="15000" b="1" i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en-GB" smtClean="0"/>
              <a:t>29 April 2024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143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404372-55C2-4676-BE1B-7AB5862B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200" y="691200"/>
            <a:ext cx="11530600" cy="367200"/>
          </a:xfrm>
        </p:spPr>
        <p:txBody>
          <a:bodyPr lIns="0" tIns="0" rIns="0" bIns="0"/>
          <a:lstStyle>
            <a:lvl1pPr>
              <a:defRPr b="1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191F879A-9D5C-4572-8E7C-BF63057808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1788" y="1057498"/>
            <a:ext cx="11530011" cy="486000"/>
          </a:xfrm>
        </p:spPr>
        <p:txBody>
          <a:bodyPr lIns="0" tIns="0" rIns="0" bIns="0"/>
          <a:lstStyle>
            <a:lvl1pPr>
              <a:defRPr sz="24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65E783B-432D-48FF-919E-E9841F6E7CD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31200" y="1929600"/>
            <a:ext cx="3701050" cy="3582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CE0F0C72-0A6F-47EB-B787-31465205AA0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245975" y="1929600"/>
            <a:ext cx="3701050" cy="3582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42FDDA8A-CD8B-4264-BB35-5DED5E32A8B1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60749" y="1929600"/>
            <a:ext cx="3701050" cy="3582000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4F12F13-0517-4E0E-8E16-1636B7C145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200" y="5634000"/>
            <a:ext cx="11530600" cy="540000"/>
          </a:xfrm>
          <a:solidFill>
            <a:schemeClr val="accent3"/>
          </a:solidFill>
        </p:spPr>
        <p:txBody>
          <a:bodyPr lIns="0" tIns="0" rIns="0" bIns="0" anchor="ctr"/>
          <a:lstStyle>
            <a:lvl1pPr marL="0" algn="ctr"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0BA48-2EC3-4080-A97C-33DE1D74B9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/>
          <a:p>
            <a:endParaRPr lang="en-US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72ED8-D8A6-4B60-9145-0B2F226FCF9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/>
          <a:p>
            <a:fld id="{3C98B010-9E51-4508-988C-7150B2C9E60D}" type="datetime4">
              <a:rPr lang="en-US" noProof="0" smtClean="0"/>
              <a:t>April 29, 2024</a:t>
            </a:fld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9B7E41-ACE0-4535-9419-94A5884DC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r>
              <a:rPr lang="en-US" noProof="0" dirty="0"/>
              <a:t>Slide </a:t>
            </a:r>
            <a:fld id="{619F89D8-7AE3-494A-97F3-03D680869632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3286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scination_2: Picture +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460BE94-7991-405E-B930-0F942865A5B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CF622D-52F4-4D6B-8A63-50559C741D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268413"/>
            <a:ext cx="4968875" cy="4320827"/>
          </a:xfrm>
        </p:spPr>
        <p:txBody>
          <a:bodyPr lIns="0" tIns="0" rIns="0" bIns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197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ascination_12: Title + Tex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146C20B-9540-45A4-B2E4-08223191E7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67438" y="0"/>
            <a:ext cx="6024562" cy="6858000"/>
          </a:xfr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94DEC4-72B6-4929-A8E2-6BE822763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0350"/>
            <a:ext cx="4967287" cy="1655763"/>
          </a:xfrm>
        </p:spPr>
        <p:txBody>
          <a:bodyPr lIns="0" tIns="0" rIns="0" bIns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36BF31A-4534-4708-9A77-5306B99AA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2708275"/>
            <a:ext cx="4967288" cy="3529013"/>
          </a:xfrm>
        </p:spPr>
        <p:txBody>
          <a:bodyPr lIns="0" tIns="0" rIns="0" bIns="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325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C10A4A-D8E8-4379-8116-0077101C1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836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C10A4A-D8E8-4379-8116-0077101C1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3AB52654-DCE0-4D8C-A4E0-AB58A4530B64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>
          <a:xfrm>
            <a:off x="2499783" y="6298397"/>
            <a:ext cx="8490250" cy="500072"/>
          </a:xfrm>
          <a:prstGeom prst="rect">
            <a:avLst/>
          </a:prstGeom>
        </p:spPr>
        <p:txBody>
          <a:bodyPr/>
          <a:lstStyle/>
          <a:p>
            <a:pPr lvl="8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332367" y="6489341"/>
            <a:ext cx="1162951" cy="118192"/>
          </a:xfrm>
          <a:prstGeom prst="rect">
            <a:avLst/>
          </a:prstGeom>
        </p:spPr>
        <p:txBody>
          <a:bodyPr/>
          <a:lstStyle/>
          <a:p>
            <a:fld id="{71C58588-E38B-4E5B-A744-F7E43052847A}" type="datetime4">
              <a:rPr lang="en-US" smtClean="0"/>
              <a:t>April 29, 2024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798114" y="6488733"/>
            <a:ext cx="676888" cy="118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6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10064" y="2238495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6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10064" y="1931193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6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10064" y="4410680"/>
            <a:ext cx="36432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6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10064" y="4103378"/>
            <a:ext cx="3643200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63" y="1931195"/>
            <a:ext cx="3643200" cy="180926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664" y="2317643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10064" y="2317643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63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664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10064" y="4489828"/>
            <a:ext cx="3643200" cy="1422821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64" y="1085213"/>
            <a:ext cx="11520000" cy="504000"/>
          </a:xfrm>
        </p:spPr>
        <p:txBody>
          <a:bodyPr lIns="0" tIns="0" rIns="0" bIns="0"/>
          <a:lstStyle>
            <a:lvl1pPr marL="0" indent="0" algn="l">
              <a:buNone/>
              <a:defRPr lang="en-US" sz="2000" kern="1200" dirty="0">
                <a:solidFill>
                  <a:schemeClr val="tx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marL="0" lv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47107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oleObject" Target="../embeddings/oleObject1.bin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90" Type="http://schemas.openxmlformats.org/officeDocument/2006/relationships/image" Target="../media/image1.emf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tags" Target="../tags/tag2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B0D2F95-CA18-4DCC-831C-D79BB7D27A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7"/>
            </p:custDataLst>
            <p:extLst>
              <p:ext uri="{D42A27DB-BD31-4B8C-83A1-F6EECF244321}">
                <p14:modId xmlns:p14="http://schemas.microsoft.com/office/powerpoint/2010/main" val="163407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9" imgW="663" imgH="664" progId="TCLayout.ActiveDocument.1">
                  <p:embed/>
                </p:oleObj>
              </mc:Choice>
              <mc:Fallback>
                <p:oleObj name="think-cell Slide" r:id="rId89" imgW="663" imgH="66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B0D2F95-CA18-4DCC-831C-D79BB7D27A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40D22C8-16B9-4DF3-A695-AEC3360776EE}"/>
              </a:ext>
            </a:extLst>
          </p:cNvPr>
          <p:cNvSpPr/>
          <p:nvPr userDrawn="1">
            <p:custDataLst>
              <p:tags r:id="rId88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33264" y="682313"/>
            <a:ext cx="11520000" cy="39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3264" y="1931194"/>
            <a:ext cx="11520000" cy="3982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AE6DFCD-D78B-3440-B6D2-B318E9DC0D5B}"/>
              </a:ext>
            </a:extLst>
          </p:cNvPr>
          <p:cNvSpPr/>
          <p:nvPr userDrawn="1"/>
        </p:nvSpPr>
        <p:spPr bwMode="gray">
          <a:xfrm>
            <a:off x="244800" y="414450"/>
            <a:ext cx="56870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 dirty="0">
                <a:solidFill>
                  <a:schemeClr val="bg2"/>
                </a:solidFill>
              </a:rPr>
              <a:t>—</a:t>
            </a: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81820998-9557-E7AC-3367-2BB0D098297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958A28-85CC-3FF0-0AE0-B1E7ED8CB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lvl9pPr>
              <a:defRPr sz="800"/>
            </a:lvl9pPr>
          </a:lstStyle>
          <a:p>
            <a:pPr lvl="8"/>
            <a:r>
              <a:rPr lang="en-US" dirty="0"/>
              <a:t>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32214E-BC2F-FCFA-6B0A-3B524B9AFB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527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  <p:sldLayoutId id="2147484007" r:id="rId29"/>
    <p:sldLayoutId id="2147484008" r:id="rId30"/>
    <p:sldLayoutId id="2147484009" r:id="rId31"/>
    <p:sldLayoutId id="2147484010" r:id="rId32"/>
    <p:sldLayoutId id="2147484011" r:id="rId33"/>
    <p:sldLayoutId id="2147484012" r:id="rId34"/>
    <p:sldLayoutId id="2147484013" r:id="rId35"/>
    <p:sldLayoutId id="2147484014" r:id="rId36"/>
    <p:sldLayoutId id="2147484015" r:id="rId37"/>
    <p:sldLayoutId id="2147484016" r:id="rId38"/>
    <p:sldLayoutId id="2147484017" r:id="rId39"/>
    <p:sldLayoutId id="2147484018" r:id="rId40"/>
    <p:sldLayoutId id="2147484019" r:id="rId41"/>
    <p:sldLayoutId id="2147484020" r:id="rId42"/>
    <p:sldLayoutId id="2147484021" r:id="rId43"/>
    <p:sldLayoutId id="2147484022" r:id="rId44"/>
    <p:sldLayoutId id="2147484023" r:id="rId45"/>
    <p:sldLayoutId id="2147484024" r:id="rId46"/>
    <p:sldLayoutId id="2147484026" r:id="rId47"/>
    <p:sldLayoutId id="2147484027" r:id="rId48"/>
    <p:sldLayoutId id="2147484028" r:id="rId49"/>
    <p:sldLayoutId id="2147484029" r:id="rId50"/>
    <p:sldLayoutId id="2147484376" r:id="rId51"/>
    <p:sldLayoutId id="2147484372" r:id="rId52"/>
    <p:sldLayoutId id="2147484373" r:id="rId53"/>
    <p:sldLayoutId id="2147484126" r:id="rId54"/>
    <p:sldLayoutId id="2147484130" r:id="rId55"/>
    <p:sldLayoutId id="2147484131" r:id="rId56"/>
    <p:sldLayoutId id="2147484132" r:id="rId57"/>
    <p:sldLayoutId id="2147484133" r:id="rId58"/>
    <p:sldLayoutId id="2147484134" r:id="rId59"/>
    <p:sldLayoutId id="2147484159" r:id="rId60"/>
    <p:sldLayoutId id="2147484160" r:id="rId61"/>
    <p:sldLayoutId id="2147484161" r:id="rId62"/>
    <p:sldLayoutId id="2147484162" r:id="rId63"/>
    <p:sldLayoutId id="2147484163" r:id="rId64"/>
    <p:sldLayoutId id="2147484164" r:id="rId65"/>
    <p:sldLayoutId id="2147484165" r:id="rId66"/>
    <p:sldLayoutId id="2147484166" r:id="rId67"/>
    <p:sldLayoutId id="2147484167" r:id="rId68"/>
    <p:sldLayoutId id="2147484168" r:id="rId69"/>
    <p:sldLayoutId id="2147484169" r:id="rId70"/>
    <p:sldLayoutId id="2147484170" r:id="rId71"/>
    <p:sldLayoutId id="2147484171" r:id="rId72"/>
    <p:sldLayoutId id="2147484172" r:id="rId73"/>
    <p:sldLayoutId id="2147484173" r:id="rId74"/>
    <p:sldLayoutId id="2147484174" r:id="rId75"/>
    <p:sldLayoutId id="2147484175" r:id="rId76"/>
    <p:sldLayoutId id="2147484176" r:id="rId77"/>
    <p:sldLayoutId id="2147484177" r:id="rId78"/>
    <p:sldLayoutId id="2147484178" r:id="rId79"/>
    <p:sldLayoutId id="2147484179" r:id="rId80"/>
    <p:sldLayoutId id="2147484180" r:id="rId81"/>
    <p:sldLayoutId id="2147484181" r:id="rId82"/>
    <p:sldLayoutId id="2147484374" r:id="rId83"/>
    <p:sldLayoutId id="2147484377" r:id="rId84"/>
    <p:sldLayoutId id="2147484378" r:id="rId8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8">
          <p15:clr>
            <a:srgbClr val="F26B43"/>
          </p15:clr>
        </p15:guide>
        <p15:guide id="2" pos="7469">
          <p15:clr>
            <a:srgbClr val="F26B43"/>
          </p15:clr>
        </p15:guide>
        <p15:guide id="3" pos="212">
          <p15:clr>
            <a:srgbClr val="F26B43"/>
          </p15:clr>
        </p15:guide>
        <p15:guide id="4" orient="horz" pos="3726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247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30.png"/><Relationship Id="rId4" Type="http://schemas.openxmlformats.org/officeDocument/2006/relationships/image" Target="../media/image2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68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svg"/><Relationship Id="rId3" Type="http://schemas.openxmlformats.org/officeDocument/2006/relationships/image" Target="../media/image70.jpeg"/><Relationship Id="rId7" Type="http://schemas.openxmlformats.org/officeDocument/2006/relationships/image" Target="../media/image73.png"/><Relationship Id="rId12" Type="http://schemas.openxmlformats.org/officeDocument/2006/relationships/image" Target="../media/image78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72.svg"/><Relationship Id="rId11" Type="http://schemas.openxmlformats.org/officeDocument/2006/relationships/image" Target="../media/image77.png"/><Relationship Id="rId5" Type="http://schemas.openxmlformats.org/officeDocument/2006/relationships/image" Target="../media/image71.png"/><Relationship Id="rId10" Type="http://schemas.openxmlformats.org/officeDocument/2006/relationships/image" Target="../media/image76.svg"/><Relationship Id="rId4" Type="http://schemas.openxmlformats.org/officeDocument/2006/relationships/chart" Target="../charts/chart1.xml"/><Relationship Id="rId9" Type="http://schemas.openxmlformats.org/officeDocument/2006/relationships/image" Target="../media/image7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ea.org/reports/net-zero-roadmap-a-global-pathway-to-keep-the-15-0c-goal-in-reach" TargetMode="External"/><Relationship Id="rId3" Type="http://schemas.openxmlformats.org/officeDocument/2006/relationships/image" Target="../media/image79.jpe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82.png"/><Relationship Id="rId5" Type="http://schemas.openxmlformats.org/officeDocument/2006/relationships/image" Target="../media/image81.jpe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13" Type="http://schemas.openxmlformats.org/officeDocument/2006/relationships/image" Target="../media/image94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12" Type="http://schemas.openxmlformats.org/officeDocument/2006/relationships/image" Target="../media/image93.svg"/><Relationship Id="rId17" Type="http://schemas.openxmlformats.org/officeDocument/2006/relationships/image" Target="../media/image98.sv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97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87.jpeg"/><Relationship Id="rId11" Type="http://schemas.openxmlformats.org/officeDocument/2006/relationships/image" Target="../media/image92.png"/><Relationship Id="rId5" Type="http://schemas.openxmlformats.org/officeDocument/2006/relationships/image" Target="../media/image86.png"/><Relationship Id="rId15" Type="http://schemas.openxmlformats.org/officeDocument/2006/relationships/image" Target="../media/image96.svg"/><Relationship Id="rId10" Type="http://schemas.openxmlformats.org/officeDocument/2006/relationships/image" Target="../media/image91.svg"/><Relationship Id="rId4" Type="http://schemas.openxmlformats.org/officeDocument/2006/relationships/image" Target="../media/image85.jpeg"/><Relationship Id="rId9" Type="http://schemas.openxmlformats.org/officeDocument/2006/relationships/image" Target="../media/image90.png"/><Relationship Id="rId14" Type="http://schemas.openxmlformats.org/officeDocument/2006/relationships/image" Target="../media/image9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99.jpeg"/><Relationship Id="rId7" Type="http://schemas.openxmlformats.org/officeDocument/2006/relationships/image" Target="../media/image10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02.jpeg"/><Relationship Id="rId5" Type="http://schemas.openxmlformats.org/officeDocument/2006/relationships/image" Target="../media/image101.jpeg"/><Relationship Id="rId10" Type="http://schemas.openxmlformats.org/officeDocument/2006/relationships/image" Target="../media/image106.jpeg"/><Relationship Id="rId4" Type="http://schemas.openxmlformats.org/officeDocument/2006/relationships/image" Target="../media/image100.jpeg"/><Relationship Id="rId9" Type="http://schemas.openxmlformats.org/officeDocument/2006/relationships/image" Target="../media/image10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07.png"/><Relationship Id="rId7" Type="http://schemas.openxmlformats.org/officeDocument/2006/relationships/image" Target="../media/image11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0" Type="http://schemas.openxmlformats.org/officeDocument/2006/relationships/image" Target="../media/image114.png"/><Relationship Id="rId4" Type="http://schemas.openxmlformats.org/officeDocument/2006/relationships/image" Target="../media/image108.svg"/><Relationship Id="rId9" Type="http://schemas.openxmlformats.org/officeDocument/2006/relationships/image" Target="../media/image11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jpeg"/><Relationship Id="rId3" Type="http://schemas.openxmlformats.org/officeDocument/2006/relationships/image" Target="../media/image116.jpeg"/><Relationship Id="rId7" Type="http://schemas.openxmlformats.org/officeDocument/2006/relationships/image" Target="../media/image1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19.jpeg"/><Relationship Id="rId5" Type="http://schemas.openxmlformats.org/officeDocument/2006/relationships/image" Target="../media/image118.jpeg"/><Relationship Id="rId10" Type="http://schemas.openxmlformats.org/officeDocument/2006/relationships/image" Target="../media/image123.svg"/><Relationship Id="rId4" Type="http://schemas.openxmlformats.org/officeDocument/2006/relationships/image" Target="../media/image117.jpeg"/><Relationship Id="rId9" Type="http://schemas.openxmlformats.org/officeDocument/2006/relationships/image" Target="../media/image12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G"/><Relationship Id="rId3" Type="http://schemas.openxmlformats.org/officeDocument/2006/relationships/image" Target="../media/image124.jpg"/><Relationship Id="rId7" Type="http://schemas.openxmlformats.org/officeDocument/2006/relationships/image" Target="../media/image12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127.jpeg"/><Relationship Id="rId5" Type="http://schemas.openxmlformats.org/officeDocument/2006/relationships/image" Target="../media/image126.jpg"/><Relationship Id="rId10" Type="http://schemas.openxmlformats.org/officeDocument/2006/relationships/image" Target="../media/image130.jpeg"/><Relationship Id="rId4" Type="http://schemas.openxmlformats.org/officeDocument/2006/relationships/image" Target="../media/image125.jpg"/><Relationship Id="rId9" Type="http://schemas.openxmlformats.org/officeDocument/2006/relationships/image" Target="../media/image12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30.png"/><Relationship Id="rId5" Type="http://schemas.openxmlformats.org/officeDocument/2006/relationships/hyperlink" Target="https://search.abb.com/library/Download.aspx?DocumentID=9AKK107046A0852&amp;LanguageCode=en&amp;DocumentPartId=&amp;Action=Launch" TargetMode="External"/><Relationship Id="rId4" Type="http://schemas.openxmlformats.org/officeDocument/2006/relationships/hyperlink" Target="https://new.abb.com/about/our-businesses/electrification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sv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4.png"/><Relationship Id="rId11" Type="http://schemas.openxmlformats.org/officeDocument/2006/relationships/image" Target="../media/image39.svg"/><Relationship Id="rId5" Type="http://schemas.openxmlformats.org/officeDocument/2006/relationships/image" Target="../media/image33.pn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svg"/><Relationship Id="rId1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3.png"/><Relationship Id="rId7" Type="http://schemas.openxmlformats.org/officeDocument/2006/relationships/image" Target="../media/image37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6.png"/><Relationship Id="rId11" Type="http://schemas.openxmlformats.org/officeDocument/2006/relationships/image" Target="../media/image49.svg"/><Relationship Id="rId5" Type="http://schemas.openxmlformats.org/officeDocument/2006/relationships/image" Target="../media/image45.jpeg"/><Relationship Id="rId10" Type="http://schemas.openxmlformats.org/officeDocument/2006/relationships/image" Target="../media/image48.png"/><Relationship Id="rId4" Type="http://schemas.openxmlformats.org/officeDocument/2006/relationships/image" Target="../media/image44.svg"/><Relationship Id="rId9" Type="http://schemas.openxmlformats.org/officeDocument/2006/relationships/image" Target="../media/image47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5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5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62.pn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65.jpg"/><Relationship Id="rId5" Type="http://schemas.openxmlformats.org/officeDocument/2006/relationships/image" Target="../media/image61.svg"/><Relationship Id="rId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406572B-03FF-C9FF-9722-348A8F3F960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48861A8-DF98-496E-AF0F-2336DF6A08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230" y="5541604"/>
            <a:ext cx="9787525" cy="48600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lectrifying Cana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372CEBD-27BC-4646-8108-79A1AB906D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200" y="6024753"/>
            <a:ext cx="9787525" cy="486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 a safe, smart and sustainable wa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E6867F-E388-4CB0-9FE0-58B1FE0402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1200" y="5353012"/>
            <a:ext cx="9787525" cy="185926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ELECTRIFICATION business area 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Classification" descr="{&quot;templafy&quot;:{&quot;id&quot;:&quot;4733e88c-55a5-4f10-9451-8a0354bc9b4c&quot;}}">
            <a:extLst>
              <a:ext uri="{FF2B5EF4-FFF2-40B4-BE49-F238E27FC236}">
                <a16:creationId xmlns:a16="http://schemas.microsoft.com/office/drawing/2014/main" id="{E4F6737E-F784-E479-C632-E8F96FECB1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1200" y="367200"/>
            <a:ext cx="1530000" cy="252000"/>
          </a:xfrm>
          <a:prstGeom prst="rect">
            <a:avLst/>
          </a:prstGeom>
        </p:spPr>
      </p:pic>
      <p:sp>
        <p:nvSpPr>
          <p:cNvPr id="11" name="Title 8">
            <a:extLst>
              <a:ext uri="{FF2B5EF4-FFF2-40B4-BE49-F238E27FC236}">
                <a16:creationId xmlns:a16="http://schemas.microsoft.com/office/drawing/2014/main" id="{D8EDF97B-3751-D1A3-D341-F94A3D5E65F3}"/>
              </a:ext>
            </a:extLst>
          </p:cNvPr>
          <p:cNvSpPr txBox="1">
            <a:spLocks/>
          </p:cNvSpPr>
          <p:nvPr/>
        </p:nvSpPr>
        <p:spPr bwMode="gray">
          <a:xfrm>
            <a:off x="331200" y="4814030"/>
            <a:ext cx="1023102" cy="486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2"/>
                </a:solidFill>
              </a:rPr>
              <a:t>—</a:t>
            </a:r>
          </a:p>
        </p:txBody>
      </p:sp>
      <p:pic>
        <p:nvPicPr>
          <p:cNvPr id="3" name="Picture 19">
            <a:extLst>
              <a:ext uri="{FF2B5EF4-FFF2-40B4-BE49-F238E27FC236}">
                <a16:creationId xmlns:a16="http://schemas.microsoft.com/office/drawing/2014/main" id="{1A82FC54-79EF-57D8-88B1-1B47ABC63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C977AC5-E6C0-E2B2-4348-7EAAE948BDDD}"/>
              </a:ext>
            </a:extLst>
          </p:cNvPr>
          <p:cNvSpPr txBox="1"/>
          <p:nvPr/>
        </p:nvSpPr>
        <p:spPr bwMode="gray">
          <a:xfrm>
            <a:off x="339588" y="6550071"/>
            <a:ext cx="6095306" cy="12311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800" dirty="0">
                <a:solidFill>
                  <a:schemeClr val="accent3"/>
                </a:solidFill>
              </a:rPr>
              <a:t>Copyright ABB. March 2024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18614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277BC-29DE-4FD2-9AAE-6D5363085F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1506980"/>
            <a:ext cx="5616576" cy="3529013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en-GB" sz="2000" b="1" dirty="0"/>
              <a:t>Offering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Installation and commissioning (I&amp;C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Train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Spares and consumabl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aintenan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epair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Engineering and consulti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Upgrad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Extens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etrofi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End of life service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eplacemen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Support agreements (Power Car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Advanced services (Smart Asset Management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A633D-9A67-40F1-9932-EDFF38734A31}"/>
              </a:ext>
            </a:extLst>
          </p:cNvPr>
          <p:cNvSpPr txBox="1"/>
          <p:nvPr/>
        </p:nvSpPr>
        <p:spPr bwMode="gray">
          <a:xfrm>
            <a:off x="6099517" y="5975350"/>
            <a:ext cx="5584483" cy="39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Circuit Breaker Shop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, Brampt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: K-Line breaker refurbishment solution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4674DA24-85F1-4C40-BF62-7CA0555FF8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36" r="23788"/>
          <a:stretch/>
        </p:blipFill>
        <p:spPr bwMode="auto">
          <a:xfrm>
            <a:off x="6099518" y="0"/>
            <a:ext cx="6092483" cy="582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7052BAA4-F2EA-2A91-336C-6491E50241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89661" y="1919085"/>
            <a:ext cx="231010" cy="23101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2B9B6828-8564-7752-BA62-E232EC0417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27416" y="2219145"/>
            <a:ext cx="231010" cy="23101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508CCCB-9E9F-D1B1-3CEC-9156919F9E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85265" y="2530095"/>
            <a:ext cx="231010" cy="23101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B44D8A48-054A-8A6B-2EDF-99B11B5C32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0947" y="2838362"/>
            <a:ext cx="231010" cy="23101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339B087-66BB-8DA4-A81E-FD645640DE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355944" y="3155981"/>
            <a:ext cx="231010" cy="23101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E78D395F-A0B7-E639-2C52-1D565DBDAF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6275" y="3501325"/>
            <a:ext cx="231010" cy="23101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43380CE-2215-1464-F756-F6423388F6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86954" y="3810551"/>
            <a:ext cx="231010" cy="23101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7E28D72-DA13-3FC2-E67C-4014596012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58426" y="4127777"/>
            <a:ext cx="231010" cy="23101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0C0A7290-0063-02F3-BCBA-1FA635D5AB8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7898" y="4466380"/>
            <a:ext cx="231010" cy="23101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40C63177-EAB3-6C0A-096C-56A81F24F2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870947" y="5100084"/>
            <a:ext cx="231010" cy="23101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B54A8304-24AF-BDA6-AD09-816654A4E8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66210" y="5448098"/>
            <a:ext cx="231010" cy="23101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D4111E64-D4B7-3EBE-4A31-DFA4DCA6A9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79347" y="5744340"/>
            <a:ext cx="231010" cy="231010"/>
          </a:xfrm>
          <a:prstGeom prst="rect">
            <a:avLst/>
          </a:prstGeom>
        </p:spPr>
      </p:pic>
      <p:sp>
        <p:nvSpPr>
          <p:cNvPr id="20" name="Title 2">
            <a:extLst>
              <a:ext uri="{FF2B5EF4-FFF2-40B4-BE49-F238E27FC236}">
                <a16:creationId xmlns:a16="http://schemas.microsoft.com/office/drawing/2014/main" id="{0319654E-FA2E-1F48-D3BC-811F0471FE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57" y="252855"/>
            <a:ext cx="4967287" cy="1254125"/>
          </a:xfrm>
        </p:spPr>
        <p:txBody>
          <a:bodyPr/>
          <a:lstStyle/>
          <a:p>
            <a:b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ervice</a:t>
            </a:r>
            <a:endParaRPr lang="en-US" sz="2800" b="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CC899A-D02E-2B58-E713-F058A6D4D0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09" r="26902"/>
          <a:stretch/>
        </p:blipFill>
        <p:spPr bwMode="auto">
          <a:xfrm>
            <a:off x="6099517" y="0"/>
            <a:ext cx="6092483" cy="582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A person working on a machine&#10;&#10;Description automatically generated">
            <a:extLst>
              <a:ext uri="{FF2B5EF4-FFF2-40B4-BE49-F238E27FC236}">
                <a16:creationId xmlns:a16="http://schemas.microsoft.com/office/drawing/2014/main" id="{E66729F0-2A81-493E-0827-081208C1190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086" r="22056"/>
          <a:stretch/>
        </p:blipFill>
        <p:spPr>
          <a:xfrm>
            <a:off x="6092483" y="0"/>
            <a:ext cx="6099517" cy="58293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D703404-3A33-808A-CCE6-55E1A515E71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96042" y="4791971"/>
            <a:ext cx="231010" cy="231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27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>
            <a:extLst>
              <a:ext uri="{FF2B5EF4-FFF2-40B4-BE49-F238E27FC236}">
                <a16:creationId xmlns:a16="http://schemas.microsoft.com/office/drawing/2014/main" id="{012C6475-5488-559C-127A-453AF2D55F6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88"/>
          <a:stretch/>
        </p:blipFill>
        <p:spPr>
          <a:xfrm>
            <a:off x="1937" y="-42202"/>
            <a:ext cx="12192000" cy="691182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38D06DE-D9F4-38C5-7C50-A5B5C76B6B83}"/>
              </a:ext>
            </a:extLst>
          </p:cNvPr>
          <p:cNvSpPr/>
          <p:nvPr/>
        </p:nvSpPr>
        <p:spPr bwMode="gray">
          <a:xfrm>
            <a:off x="1" y="-56181"/>
            <a:ext cx="4237224" cy="6925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FD20DE0-A249-F262-726E-2AA5B2EBE560}"/>
              </a:ext>
            </a:extLst>
          </p:cNvPr>
          <p:cNvCxnSpPr>
            <a:cxnSpLocks/>
          </p:cNvCxnSpPr>
          <p:nvPr/>
        </p:nvCxnSpPr>
        <p:spPr bwMode="gray">
          <a:xfrm>
            <a:off x="-14312" y="1933575"/>
            <a:ext cx="4574966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DBF0E0F7-2663-40AA-B3EF-78A19A550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  <a:t>The world needs electrification solutions more than ever</a:t>
            </a:r>
            <a:endParaRPr lang="en-US" sz="2800" dirty="0">
              <a:latin typeface="+mn-lt"/>
            </a:endParaRP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D5AE2AB8-E9B4-185D-6B33-EC54F2AA834B}"/>
              </a:ext>
            </a:extLst>
          </p:cNvPr>
          <p:cNvSpPr txBox="1">
            <a:spLocks/>
          </p:cNvSpPr>
          <p:nvPr/>
        </p:nvSpPr>
        <p:spPr>
          <a:xfrm>
            <a:off x="331199" y="5471465"/>
            <a:ext cx="3362039" cy="95365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600" b="1" dirty="0">
                <a:latin typeface="ABBvoice"/>
                <a:ea typeface="ABBvoice"/>
                <a:cs typeface="ABBvoice"/>
              </a:rPr>
              <a:t>2x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more energy efficiency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 improvements needed by 2030</a:t>
            </a:r>
            <a:br>
              <a:rPr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</a:b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to reach net-zero by 2050</a:t>
            </a:r>
            <a:r>
              <a:rPr lang="en-US" sz="1600" dirty="0">
                <a:latin typeface="ABBvoice"/>
                <a:ea typeface="ABBvoice"/>
                <a:cs typeface="ABBvoice"/>
              </a:rPr>
              <a:t> 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7DA69F07-529F-ADB2-3E89-4D054438DC0C}"/>
              </a:ext>
            </a:extLst>
          </p:cNvPr>
          <p:cNvSpPr txBox="1">
            <a:spLocks/>
          </p:cNvSpPr>
          <p:nvPr/>
        </p:nvSpPr>
        <p:spPr bwMode="gray">
          <a:xfrm>
            <a:off x="331199" y="2034270"/>
            <a:ext cx="3501041" cy="7750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&gt;50% of decarbonization </a:t>
            </a:r>
            <a:br>
              <a:rPr kumimoji="0" lang="en-US" sz="160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</a:br>
            <a:r>
              <a:rPr kumimoji="0" lang="en-US" sz="1600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driven by electrification </a:t>
            </a:r>
            <a:endParaRPr lang="en-US" sz="1600" dirty="0">
              <a:latin typeface="ABBvoice"/>
              <a:ea typeface="ABBvoice"/>
              <a:cs typeface="ABBvoice"/>
            </a:endParaRPr>
          </a:p>
          <a:p>
            <a:pPr marL="0" marR="0" lvl="0" indent="0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rPr>
              <a:t>electricity growing &gt;10x faster</a:t>
            </a:r>
            <a:endParaRPr kumimoji="0" lang="en-US" sz="1600" i="0" u="none" strike="noStrike" kern="1200" cap="none" normalizeH="0" baseline="0" noProof="0" dirty="0">
              <a:ln>
                <a:noFill/>
              </a:ln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A44024C3-3976-ABC9-BB5C-D88F3E3F6763}"/>
              </a:ext>
            </a:extLst>
          </p:cNvPr>
          <p:cNvSpPr txBox="1">
            <a:spLocks/>
          </p:cNvSpPr>
          <p:nvPr/>
        </p:nvSpPr>
        <p:spPr bwMode="gray">
          <a:xfrm>
            <a:off x="331199" y="3672127"/>
            <a:ext cx="3906026" cy="53374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sz="1600" b="1" dirty="0"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3X more renewable integration </a:t>
            </a:r>
            <a:br>
              <a:rPr lang="en-US" sz="1600" dirty="0"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sz="1600" dirty="0"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needed by 2030</a:t>
            </a:r>
          </a:p>
          <a:p>
            <a:pPr defTabSz="914400"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~50% more investment 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in electricity grids</a:t>
            </a:r>
            <a:r>
              <a:rPr kumimoji="0" lang="en-US" sz="16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by </a:t>
            </a:r>
            <a:r>
              <a:rPr lang="en-US" sz="1600" dirty="0"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2030</a:t>
            </a:r>
            <a:endParaRPr 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BBvoice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B39F7A5-6220-6FC3-C805-2AA4F77B8BFD}"/>
              </a:ext>
            </a:extLst>
          </p:cNvPr>
          <p:cNvGrpSpPr/>
          <p:nvPr/>
        </p:nvGrpSpPr>
        <p:grpSpPr>
          <a:xfrm>
            <a:off x="6029070" y="1322593"/>
            <a:ext cx="6947879" cy="4660075"/>
            <a:chOff x="2622061" y="1098963"/>
            <a:chExt cx="6947879" cy="4660075"/>
          </a:xfrm>
        </p:grpSpPr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13241857-A498-A967-2C1F-3C1F9CB03FB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853653822"/>
                </p:ext>
              </p:extLst>
            </p:nvPr>
          </p:nvGraphicFramePr>
          <p:xfrm>
            <a:off x="2622061" y="1098963"/>
            <a:ext cx="6947879" cy="46600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5A2B4FF-A42C-FF4E-FE4C-C5F166CF07D4}"/>
                </a:ext>
              </a:extLst>
            </p:cNvPr>
            <p:cNvSpPr/>
            <p:nvPr/>
          </p:nvSpPr>
          <p:spPr>
            <a:xfrm rot="16260000">
              <a:off x="4923883" y="1090670"/>
              <a:ext cx="2342424" cy="3138746"/>
            </a:xfrm>
            <a:prstGeom prst="rect">
              <a:avLst/>
            </a:prstGeom>
            <a:noFill/>
          </p:spPr>
          <p:txBody>
            <a:bodyPr spcFirstLastPara="1" wrap="none" lIns="91440" tIns="45720" rIns="91440" bIns="45720" numCol="1">
              <a:prstTxWarp prst="textCircl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dirty="0">
                  <a:ln w="0"/>
                  <a:solidFill>
                    <a:srgbClr val="000000"/>
                  </a:solidFill>
                  <a:latin typeface="ABBvoice"/>
                  <a:ea typeface="ABBvoice"/>
                  <a:cs typeface="ABBvoice"/>
                </a:rPr>
                <a:t>Demand for electricity</a:t>
              </a:r>
              <a:endParaRPr kumimoji="0" lang="en-US" sz="1800" b="1" i="0" u="none" strike="noStrike" kern="1200" cap="none" spc="0" normalizeH="0" baseline="0" noProof="0" dirty="0">
                <a:ln w="0"/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70E7332E-53A5-2C40-0751-AFB30FAD965E}"/>
                </a:ext>
              </a:extLst>
            </p:cNvPr>
            <p:cNvSpPr/>
            <p:nvPr/>
          </p:nvSpPr>
          <p:spPr>
            <a:xfrm rot="17832304">
              <a:off x="6177482" y="3533858"/>
              <a:ext cx="2318423" cy="1144335"/>
            </a:xfrm>
            <a:prstGeom prst="rect">
              <a:avLst/>
            </a:prstGeom>
            <a:noFill/>
          </p:spPr>
          <p:txBody>
            <a:bodyPr spcFirstLastPara="1" wrap="none" lIns="91440" tIns="45720" rIns="91440" bIns="45720" numCol="1">
              <a:prstTxWarp prst="textArchDown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rPr>
                <a:t>Energy transition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649F5D0D-9E69-A139-4907-6EDD5CDCACB9}"/>
                </a:ext>
              </a:extLst>
            </p:cNvPr>
            <p:cNvSpPr/>
            <p:nvPr/>
          </p:nvSpPr>
          <p:spPr>
            <a:xfrm rot="3498481">
              <a:off x="3696095" y="3637790"/>
              <a:ext cx="2318423" cy="1144335"/>
            </a:xfrm>
            <a:prstGeom prst="rect">
              <a:avLst/>
            </a:prstGeom>
            <a:noFill/>
          </p:spPr>
          <p:txBody>
            <a:bodyPr spcFirstLastPara="1" wrap="none" lIns="91440" tIns="45720" rIns="91440" bIns="45720" numCol="1">
              <a:prstTxWarp prst="textArchDown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 w="0"/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rPr>
                <a:t>Energy efficiency</a:t>
              </a:r>
            </a:p>
          </p:txBody>
        </p:sp>
      </p:grp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012372C-0F68-D1D4-D068-1737135FF533}"/>
              </a:ext>
            </a:extLst>
          </p:cNvPr>
          <p:cNvCxnSpPr>
            <a:cxnSpLocks/>
            <a:endCxn id="51" idx="2"/>
          </p:cNvCxnSpPr>
          <p:nvPr/>
        </p:nvCxnSpPr>
        <p:spPr bwMode="gray">
          <a:xfrm flipV="1">
            <a:off x="4574968" y="1932908"/>
            <a:ext cx="3479499" cy="4137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D1D1BC1-4CC8-1058-4A9C-25AC2B36F628}"/>
              </a:ext>
            </a:extLst>
          </p:cNvPr>
          <p:cNvCxnSpPr>
            <a:cxnSpLocks/>
          </p:cNvCxnSpPr>
          <p:nvPr/>
        </p:nvCxnSpPr>
        <p:spPr bwMode="gray">
          <a:xfrm flipV="1">
            <a:off x="4554730" y="3555206"/>
            <a:ext cx="7066696" cy="8966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4B40B55-7B0E-B835-3063-1C6EE372E238}"/>
              </a:ext>
            </a:extLst>
          </p:cNvPr>
          <p:cNvCxnSpPr>
            <a:cxnSpLocks/>
          </p:cNvCxnSpPr>
          <p:nvPr/>
        </p:nvCxnSpPr>
        <p:spPr bwMode="gray">
          <a:xfrm>
            <a:off x="4573982" y="5390909"/>
            <a:ext cx="3512208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3A89DC7-C947-6A82-2DD7-7F18D285FE3C}"/>
              </a:ext>
            </a:extLst>
          </p:cNvPr>
          <p:cNvCxnSpPr>
            <a:cxnSpLocks/>
          </p:cNvCxnSpPr>
          <p:nvPr/>
        </p:nvCxnSpPr>
        <p:spPr bwMode="gray">
          <a:xfrm>
            <a:off x="0" y="3559403"/>
            <a:ext cx="4574966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DA7BFD3-1617-8585-0DEC-B5C82F80DF4F}"/>
              </a:ext>
            </a:extLst>
          </p:cNvPr>
          <p:cNvCxnSpPr>
            <a:cxnSpLocks/>
          </p:cNvCxnSpPr>
          <p:nvPr/>
        </p:nvCxnSpPr>
        <p:spPr bwMode="gray">
          <a:xfrm>
            <a:off x="0" y="5390909"/>
            <a:ext cx="4574967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2242789-B5E2-2BB4-9EB9-EB5761353814}"/>
              </a:ext>
            </a:extLst>
          </p:cNvPr>
          <p:cNvGrpSpPr/>
          <p:nvPr/>
        </p:nvGrpSpPr>
        <p:grpSpPr>
          <a:xfrm>
            <a:off x="3805845" y="4971132"/>
            <a:ext cx="856296" cy="856294"/>
            <a:chOff x="331490" y="5563735"/>
            <a:chExt cx="856296" cy="85629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103EB9C-44EB-6AD4-FB92-6543EBC39649}"/>
                </a:ext>
              </a:extLst>
            </p:cNvPr>
            <p:cNvSpPr/>
            <p:nvPr/>
          </p:nvSpPr>
          <p:spPr bwMode="gray">
            <a:xfrm>
              <a:off x="331490" y="5563735"/>
              <a:ext cx="856296" cy="85629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9A95E1BE-286C-8FC5-37A0-61496A96DA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39330" y="5735875"/>
              <a:ext cx="457200" cy="457200"/>
            </a:xfrm>
            <a:prstGeom prst="rect">
              <a:avLst/>
            </a:prstGeom>
          </p:spPr>
        </p:pic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0D881A-0739-6404-E064-EF924357C0CC}"/>
              </a:ext>
            </a:extLst>
          </p:cNvPr>
          <p:cNvGrpSpPr/>
          <p:nvPr/>
        </p:nvGrpSpPr>
        <p:grpSpPr>
          <a:xfrm>
            <a:off x="3805845" y="3144077"/>
            <a:ext cx="856296" cy="856294"/>
            <a:chOff x="336687" y="3939374"/>
            <a:chExt cx="856296" cy="856294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DA1F977-DE71-E063-2224-C7A8D8934E38}"/>
                </a:ext>
              </a:extLst>
            </p:cNvPr>
            <p:cNvSpPr/>
            <p:nvPr/>
          </p:nvSpPr>
          <p:spPr bwMode="gray">
            <a:xfrm>
              <a:off x="336687" y="3939374"/>
              <a:ext cx="856296" cy="85629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9AD677A3-9C65-ECFE-1F8D-A975CD43668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26630" y="4104934"/>
              <a:ext cx="496486" cy="496486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ECC2892-795B-7A4A-2CCB-EE6AB33D94B8}"/>
              </a:ext>
            </a:extLst>
          </p:cNvPr>
          <p:cNvGrpSpPr/>
          <p:nvPr/>
        </p:nvGrpSpPr>
        <p:grpSpPr>
          <a:xfrm>
            <a:off x="3805845" y="1499628"/>
            <a:ext cx="856296" cy="856294"/>
            <a:chOff x="331490" y="2167356"/>
            <a:chExt cx="856296" cy="856294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EEC62FA0-1BD3-898D-0EC7-7F0C81170653}"/>
                </a:ext>
              </a:extLst>
            </p:cNvPr>
            <p:cNvSpPr/>
            <p:nvPr/>
          </p:nvSpPr>
          <p:spPr bwMode="gray">
            <a:xfrm>
              <a:off x="331490" y="2167356"/>
              <a:ext cx="856296" cy="85629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9C7CA41D-EDAF-FCBF-8D53-6806B52A86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39330" y="2365436"/>
              <a:ext cx="457200" cy="457200"/>
            </a:xfrm>
            <a:prstGeom prst="rect">
              <a:avLst/>
            </a:prstGeom>
          </p:spPr>
        </p:pic>
      </p:grpSp>
      <p:sp>
        <p:nvSpPr>
          <p:cNvPr id="51" name="Oval 50">
            <a:extLst>
              <a:ext uri="{FF2B5EF4-FFF2-40B4-BE49-F238E27FC236}">
                <a16:creationId xmlns:a16="http://schemas.microsoft.com/office/drawing/2014/main" id="{52762FFD-38DB-25E8-E942-1A1A1C640577}"/>
              </a:ext>
            </a:extLst>
          </p:cNvPr>
          <p:cNvSpPr/>
          <p:nvPr/>
        </p:nvSpPr>
        <p:spPr bwMode="gray">
          <a:xfrm>
            <a:off x="8054467" y="1852351"/>
            <a:ext cx="161113" cy="161113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4D23702-72C1-DB10-7511-747E25F21A1C}"/>
              </a:ext>
            </a:extLst>
          </p:cNvPr>
          <p:cNvSpPr/>
          <p:nvPr/>
        </p:nvSpPr>
        <p:spPr bwMode="gray">
          <a:xfrm>
            <a:off x="8087156" y="5310352"/>
            <a:ext cx="161113" cy="161113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5F815D-00BC-117A-BB9F-10A0B5EADE75}"/>
              </a:ext>
            </a:extLst>
          </p:cNvPr>
          <p:cNvSpPr txBox="1"/>
          <p:nvPr/>
        </p:nvSpPr>
        <p:spPr bwMode="gray">
          <a:xfrm>
            <a:off x="5420724" y="6343147"/>
            <a:ext cx="6235123" cy="481974"/>
          </a:xfrm>
          <a:prstGeom prst="rect">
            <a:avLst/>
          </a:prstGeom>
          <a:noFill/>
        </p:spPr>
        <p:txBody>
          <a:bodyPr wrap="square" lIns="72000" tIns="72000" rIns="72000" bIns="72000" rtlCol="0">
            <a:no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Source: IEA 2023 report, McKinsey; 1. than other energy sources in 2022–30 and vs. 2016 – 2022</a:t>
            </a:r>
          </a:p>
          <a:p>
            <a:r>
              <a:rPr lang="en-US" sz="1000" dirty="0">
                <a:solidFill>
                  <a:schemeClr val="bg1"/>
                </a:solidFill>
              </a:rPr>
              <a:t>Improvements needed by 2030 in order </a:t>
            </a:r>
            <a:r>
              <a:rPr lang="pl-PL" sz="1000" dirty="0">
                <a:solidFill>
                  <a:schemeClr val="bg1"/>
                </a:solidFill>
              </a:rPr>
              <a:t>to reach net-zero </a:t>
            </a:r>
            <a:r>
              <a:rPr lang="en-US" sz="1000" dirty="0">
                <a:solidFill>
                  <a:schemeClr val="bg1"/>
                </a:solidFill>
              </a:rPr>
              <a:t>targets </a:t>
            </a:r>
            <a:r>
              <a:rPr lang="pl-PL" sz="1000" dirty="0">
                <a:solidFill>
                  <a:schemeClr val="bg1"/>
                </a:solidFill>
              </a:rPr>
              <a:t>by 2050 </a:t>
            </a:r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ABA8823-10F8-148C-E902-D6A0003FDE9B}"/>
              </a:ext>
            </a:extLst>
          </p:cNvPr>
          <p:cNvSpPr/>
          <p:nvPr/>
        </p:nvSpPr>
        <p:spPr bwMode="gray">
          <a:xfrm>
            <a:off x="11621426" y="3481135"/>
            <a:ext cx="161113" cy="161113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8FA0D94-3F86-2477-EA39-215774F74937}"/>
              </a:ext>
            </a:extLst>
          </p:cNvPr>
          <p:cNvSpPr/>
          <p:nvPr/>
        </p:nvSpPr>
        <p:spPr bwMode="gray">
          <a:xfrm>
            <a:off x="244800" y="414450"/>
            <a:ext cx="568701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3200" b="1" dirty="0">
                <a:solidFill>
                  <a:schemeClr val="bg2"/>
                </a:solidFill>
              </a:rPr>
              <a:t>—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8D69A4-4543-2159-4A47-23FC19A8DCB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710863" y="3249801"/>
            <a:ext cx="1628540" cy="624906"/>
          </a:xfrm>
          <a:prstGeom prst="rect">
            <a:avLst/>
          </a:prstGeom>
        </p:spPr>
      </p:pic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44BDD768-3564-5C74-A4B6-83974288294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F1974C9-2F61-2F65-5673-711EE8CAF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37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CBDFB7AA-7998-6882-DEBB-F98B25C42B6F}"/>
              </a:ext>
            </a:extLst>
          </p:cNvPr>
          <p:cNvGrpSpPr/>
          <p:nvPr/>
        </p:nvGrpSpPr>
        <p:grpSpPr>
          <a:xfrm>
            <a:off x="4451226" y="3459613"/>
            <a:ext cx="3843462" cy="3402002"/>
            <a:chOff x="4451226" y="3454826"/>
            <a:chExt cx="3843462" cy="3402002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33275EAE-AFE7-2D7E-AE08-BB5B7650502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451226" y="3454828"/>
              <a:ext cx="3843462" cy="3402000"/>
            </a:xfrm>
            <a:prstGeom prst="rect">
              <a:avLst/>
            </a:prstGeom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22D21F96-7999-9C2F-D9F9-8610336F75E9}"/>
                </a:ext>
              </a:extLst>
            </p:cNvPr>
            <p:cNvSpPr/>
            <p:nvPr/>
          </p:nvSpPr>
          <p:spPr bwMode="gray">
            <a:xfrm rot="5400000">
              <a:off x="4010404" y="3895649"/>
              <a:ext cx="3402001" cy="2520356"/>
            </a:xfrm>
            <a:prstGeom prst="rect">
              <a:avLst/>
            </a:prstGeom>
            <a:gradFill flip="none" rotWithShape="1">
              <a:gsLst>
                <a:gs pos="0">
                  <a:srgbClr val="00152A">
                    <a:alpha val="51765"/>
                  </a:srgbClr>
                </a:gs>
                <a:gs pos="43000">
                  <a:srgbClr val="004C97">
                    <a:alpha val="16000"/>
                  </a:srgbClr>
                </a:gs>
                <a:gs pos="100000">
                  <a:schemeClr val="accent6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AA98C4E-FD63-9F5A-2ED9-A3E6E0641F77}"/>
              </a:ext>
            </a:extLst>
          </p:cNvPr>
          <p:cNvGrpSpPr/>
          <p:nvPr/>
        </p:nvGrpSpPr>
        <p:grpSpPr>
          <a:xfrm>
            <a:off x="8353321" y="3460787"/>
            <a:ext cx="3843466" cy="3402001"/>
            <a:chOff x="8353321" y="3460787"/>
            <a:chExt cx="3843466" cy="3402001"/>
          </a:xfrm>
        </p:grpSpPr>
        <p:pic>
          <p:nvPicPr>
            <p:cNvPr id="6" name="Picture 5" descr="A person in a yellow jacket and glasses working on a computer&#10;&#10;Description automatically generated">
              <a:extLst>
                <a:ext uri="{FF2B5EF4-FFF2-40B4-BE49-F238E27FC236}">
                  <a16:creationId xmlns:a16="http://schemas.microsoft.com/office/drawing/2014/main" id="{862BCE3C-8B04-F5FF-9C64-6AD4C85F1B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353321" y="3460787"/>
              <a:ext cx="3843462" cy="3401999"/>
            </a:xfrm>
            <a:prstGeom prst="rect">
              <a:avLst/>
            </a:prstGeom>
          </p:spPr>
        </p:pic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C520529F-7BC1-9DFC-FE59-9D0487B3D507}"/>
                </a:ext>
              </a:extLst>
            </p:cNvPr>
            <p:cNvSpPr/>
            <p:nvPr/>
          </p:nvSpPr>
          <p:spPr bwMode="gray">
            <a:xfrm rot="5400000">
              <a:off x="7912499" y="3901610"/>
              <a:ext cx="3402001" cy="2520356"/>
            </a:xfrm>
            <a:prstGeom prst="rect">
              <a:avLst/>
            </a:prstGeom>
            <a:gradFill flip="none" rotWithShape="1">
              <a:gsLst>
                <a:gs pos="0">
                  <a:srgbClr val="00366C">
                    <a:alpha val="51765"/>
                  </a:srgbClr>
                </a:gs>
                <a:gs pos="45000">
                  <a:srgbClr val="004C97">
                    <a:alpha val="16000"/>
                  </a:srgbClr>
                </a:gs>
                <a:gs pos="100000">
                  <a:schemeClr val="accent6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3C850B8D-247F-13DF-9A33-258C3514233E}"/>
                </a:ext>
              </a:extLst>
            </p:cNvPr>
            <p:cNvSpPr/>
            <p:nvPr/>
          </p:nvSpPr>
          <p:spPr bwMode="gray">
            <a:xfrm>
              <a:off x="8353321" y="4431314"/>
              <a:ext cx="3843466" cy="2430300"/>
            </a:xfrm>
            <a:prstGeom prst="rect">
              <a:avLst/>
            </a:prstGeom>
            <a:gradFill flip="none" rotWithShape="1">
              <a:gsLst>
                <a:gs pos="0">
                  <a:srgbClr val="00366C">
                    <a:alpha val="51765"/>
                  </a:srgbClr>
                </a:gs>
                <a:gs pos="45000">
                  <a:srgbClr val="004C97">
                    <a:alpha val="16000"/>
                  </a:srgbClr>
                </a:gs>
                <a:gs pos="100000">
                  <a:schemeClr val="accent6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5BCB3FD7-572C-5CD3-7BCC-E465F6DCCAE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353325" y="-1"/>
            <a:ext cx="3843462" cy="3402000"/>
          </a:xfrm>
          <a:prstGeom prst="rect">
            <a:avLst/>
          </a:prstGeom>
        </p:spPr>
      </p:pic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72BDC169-5926-0E15-5B3B-CEB15E45B6B7}"/>
              </a:ext>
            </a:extLst>
          </p:cNvPr>
          <p:cNvSpPr txBox="1">
            <a:spLocks/>
          </p:cNvSpPr>
          <p:nvPr/>
        </p:nvSpPr>
        <p:spPr>
          <a:xfrm>
            <a:off x="8651456" y="2039786"/>
            <a:ext cx="3594393" cy="1080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integrating more </a:t>
            </a:r>
            <a:br>
              <a:rPr lang="en-US" sz="2800" dirty="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3200" b="1" dirty="0">
                <a:solidFill>
                  <a:schemeClr val="bg1"/>
                </a:solidFill>
              </a:rPr>
              <a:t>renewab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7F1753C-D861-31E0-452B-D8396416785B}"/>
              </a:ext>
            </a:extLst>
          </p:cNvPr>
          <p:cNvGrpSpPr/>
          <p:nvPr/>
        </p:nvGrpSpPr>
        <p:grpSpPr>
          <a:xfrm>
            <a:off x="-4787" y="-4788"/>
            <a:ext cx="4397376" cy="6872360"/>
            <a:chOff x="0" y="0"/>
            <a:chExt cx="4397376" cy="6857997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D7A908D-76CD-1528-0B19-9AE7088574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4397376" cy="6857997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BB22616-387F-0A52-B0C3-74F8F71713E9}"/>
                </a:ext>
              </a:extLst>
            </p:cNvPr>
            <p:cNvSpPr/>
            <p:nvPr/>
          </p:nvSpPr>
          <p:spPr bwMode="gray">
            <a:xfrm>
              <a:off x="0" y="1614055"/>
              <a:ext cx="4397376" cy="3401997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100000"/>
                    <a:alpha val="57000"/>
                  </a:schemeClr>
                </a:gs>
                <a:gs pos="55000">
                  <a:schemeClr val="tx1">
                    <a:lumMod val="100000"/>
                    <a:alpha val="14000"/>
                  </a:schemeClr>
                </a:gs>
                <a:gs pos="100000">
                  <a:schemeClr val="accent6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D74340D-E409-03DF-9917-B552FDC39754}"/>
                </a:ext>
              </a:extLst>
            </p:cNvPr>
            <p:cNvSpPr/>
            <p:nvPr/>
          </p:nvSpPr>
          <p:spPr bwMode="gray">
            <a:xfrm flipV="1">
              <a:off x="0" y="5015343"/>
              <a:ext cx="4397376" cy="1842654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100000"/>
                    <a:alpha val="57000"/>
                  </a:schemeClr>
                </a:gs>
                <a:gs pos="55000">
                  <a:schemeClr val="tx1">
                    <a:lumMod val="100000"/>
                    <a:alpha val="14000"/>
                  </a:schemeClr>
                </a:gs>
                <a:gs pos="100000">
                  <a:schemeClr val="accent6">
                    <a:lumMod val="60000"/>
                    <a:lumOff val="40000"/>
                    <a:alpha val="0"/>
                  </a:scheme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4F0D3DAA-695D-EB3E-4A6D-450F6E991BC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51226" y="-4787"/>
            <a:ext cx="3843462" cy="3402000"/>
          </a:xfrm>
          <a:prstGeom prst="rect">
            <a:avLst/>
          </a:prstGeom>
        </p:spPr>
      </p:pic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6641F3A3-AE3D-FDF8-34E2-A8630B54A8BB}"/>
              </a:ext>
            </a:extLst>
          </p:cNvPr>
          <p:cNvSpPr txBox="1">
            <a:spLocks/>
          </p:cNvSpPr>
          <p:nvPr/>
        </p:nvSpPr>
        <p:spPr>
          <a:xfrm>
            <a:off x="4781853" y="1994450"/>
            <a:ext cx="3384000" cy="1080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aking </a:t>
            </a:r>
            <a:r>
              <a:rPr lang="en-US" sz="3200" b="1" dirty="0">
                <a:solidFill>
                  <a:schemeClr val="bg1"/>
                </a:solidFill>
              </a:rPr>
              <a:t>net-zero </a:t>
            </a:r>
            <a:br>
              <a:rPr lang="en-US" sz="3200" b="1" dirty="0">
                <a:solidFill>
                  <a:schemeClr val="bg1"/>
                </a:solidFill>
              </a:rPr>
            </a:br>
            <a:r>
              <a:rPr lang="en-US" sz="3200" b="1" dirty="0">
                <a:solidFill>
                  <a:schemeClr val="bg1"/>
                </a:solidFill>
              </a:rPr>
              <a:t>future </a:t>
            </a:r>
            <a:r>
              <a:rPr lang="en-US" sz="2800" dirty="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a reality</a:t>
            </a:r>
          </a:p>
        </p:txBody>
      </p:sp>
      <p:sp>
        <p:nvSpPr>
          <p:cNvPr id="4" name="Content Placeholder 8">
            <a:extLst>
              <a:ext uri="{FF2B5EF4-FFF2-40B4-BE49-F238E27FC236}">
                <a16:creationId xmlns:a16="http://schemas.microsoft.com/office/drawing/2014/main" id="{7E290F3B-0B99-DD93-C394-7D4722AAE61B}"/>
              </a:ext>
            </a:extLst>
          </p:cNvPr>
          <p:cNvSpPr txBox="1">
            <a:spLocks/>
          </p:cNvSpPr>
          <p:nvPr/>
        </p:nvSpPr>
        <p:spPr>
          <a:xfrm>
            <a:off x="4763097" y="5307596"/>
            <a:ext cx="3384000" cy="1080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increasing</a:t>
            </a:r>
            <a:br>
              <a:rPr lang="en-US" sz="2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3200" b="1" dirty="0">
                <a:solidFill>
                  <a:schemeClr val="bg1"/>
                </a:solidFill>
              </a:rPr>
              <a:t>energy efficienc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4195D051-0BFD-7CF3-0286-A0554338235D}"/>
              </a:ext>
            </a:extLst>
          </p:cNvPr>
          <p:cNvSpPr txBox="1">
            <a:spLocks/>
          </p:cNvSpPr>
          <p:nvPr/>
        </p:nvSpPr>
        <p:spPr>
          <a:xfrm>
            <a:off x="4754145" y="115438"/>
            <a:ext cx="3384000" cy="155825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bg1"/>
                </a:solidFill>
                <a:ea typeface="ABBvoice Light" panose="020D0403020503020204" pitchFamily="34" charset="0"/>
                <a:cs typeface="ABBvoice Light" panose="020D0403020503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t Zero Roadmap IEA</a:t>
            </a: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CB2B653-BCEF-04C2-64E0-FC2008655D2F}"/>
              </a:ext>
            </a:extLst>
          </p:cNvPr>
          <p:cNvSpPr txBox="1">
            <a:spLocks/>
          </p:cNvSpPr>
          <p:nvPr/>
        </p:nvSpPr>
        <p:spPr>
          <a:xfrm>
            <a:off x="8651456" y="4820254"/>
            <a:ext cx="3372887" cy="1701533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44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68800" indent="-284400" algn="l" defTabSz="914491" rtl="0" eaLnBrk="1" latinLnBrk="0" hangingPunct="1">
              <a:spcBef>
                <a:spcPts val="600"/>
              </a:spcBef>
              <a:buFont typeface="ABBvoice" panose="020D0603020503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BBvoice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enabling </a:t>
            </a:r>
            <a:r>
              <a:rPr lang="en-US" sz="3200" b="1" dirty="0">
                <a:solidFill>
                  <a:schemeClr val="bg1"/>
                </a:solidFill>
              </a:rPr>
              <a:t>decarbonization​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604F973-FCE9-9D5C-1D52-8162BEED02EB}"/>
              </a:ext>
            </a:extLst>
          </p:cNvPr>
          <p:cNvSpPr txBox="1"/>
          <p:nvPr/>
        </p:nvSpPr>
        <p:spPr bwMode="gray">
          <a:xfrm>
            <a:off x="319334" y="3482162"/>
            <a:ext cx="3959452" cy="27699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b="1" dirty="0">
                <a:solidFill>
                  <a:srgbClr val="FF0000"/>
                </a:solidFill>
                <a:ea typeface="ABBvoice Light" panose="020D0403020503020204" pitchFamily="34" charset="0"/>
                <a:cs typeface="ABBvoice Light" panose="020D0403020503020204" pitchFamily="34" charset="0"/>
              </a:rPr>
              <a:t>—</a:t>
            </a:r>
            <a:br>
              <a:rPr lang="en-US" sz="3200" b="1" dirty="0"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How ABB </a:t>
            </a:r>
            <a:b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Electrification technology</a:t>
            </a:r>
            <a:r>
              <a:rPr lang="ru-RU" sz="2800" dirty="0">
                <a:solidFill>
                  <a:schemeClr val="bg1"/>
                </a:solidFill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 </a:t>
            </a:r>
            <a:r>
              <a:rPr lang="en-US" sz="2800" dirty="0">
                <a:solidFill>
                  <a:schemeClr val="bg1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is</a:t>
            </a:r>
          </a:p>
          <a:p>
            <a:r>
              <a:rPr lang="en-US" sz="3200" b="1" dirty="0">
                <a:solidFill>
                  <a:schemeClr val="bg1"/>
                </a:solidFill>
              </a:rPr>
              <a:t>accelerating</a:t>
            </a:r>
            <a:r>
              <a:rPr lang="ru-RU" sz="3200" b="1" dirty="0">
                <a:solidFill>
                  <a:schemeClr val="bg1"/>
                </a:solidFill>
              </a:rPr>
              <a:t> </a:t>
            </a:r>
            <a:r>
              <a:rPr lang="en-US" sz="3200" b="1" dirty="0">
                <a:solidFill>
                  <a:schemeClr val="bg1"/>
                </a:solidFill>
              </a:rPr>
              <a:t>the energy</a:t>
            </a:r>
            <a:r>
              <a:rPr lang="ru-RU" sz="3200" b="1" dirty="0">
                <a:solidFill>
                  <a:schemeClr val="bg1"/>
                </a:solidFill>
              </a:rPr>
              <a:t> </a:t>
            </a:r>
            <a:r>
              <a:rPr lang="en-US" sz="3200" b="1" dirty="0">
                <a:solidFill>
                  <a:schemeClr val="bg1"/>
                </a:solidFill>
              </a:rPr>
              <a:t>transition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18" name="Date Placeholder 2">
            <a:extLst>
              <a:ext uri="{FF2B5EF4-FFF2-40B4-BE49-F238E27FC236}">
                <a16:creationId xmlns:a16="http://schemas.microsoft.com/office/drawing/2014/main" id="{F97D7650-0561-32E3-FF20-61E12342F829}"/>
              </a:ext>
            </a:extLst>
          </p:cNvPr>
          <p:cNvSpPr txBox="1">
            <a:spLocks/>
          </p:cNvSpPr>
          <p:nvPr/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A24B3C21-3928-8B37-1B04-A4C015314E45}"/>
              </a:ext>
            </a:extLst>
          </p:cNvPr>
          <p:cNvSpPr txBox="1">
            <a:spLocks/>
          </p:cNvSpPr>
          <p:nvPr/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8"/>
            <a:r>
              <a:rPr lang="en-US"/>
              <a:t> </a:t>
            </a:r>
            <a:endParaRPr lang="en-US" dirty="0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5996D2DB-A2D4-1344-4671-37D4A8EFB321}"/>
              </a:ext>
            </a:extLst>
          </p:cNvPr>
          <p:cNvSpPr txBox="1">
            <a:spLocks/>
          </p:cNvSpPr>
          <p:nvPr/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911007"/>
      </p:ext>
    </p:extLst>
  </p:cSld>
  <p:clrMapOvr>
    <a:masterClrMapping/>
  </p:clrMapOvr>
  <p:transition spd="slow">
    <p:push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15" name="Group 3114">
            <a:extLst>
              <a:ext uri="{FF2B5EF4-FFF2-40B4-BE49-F238E27FC236}">
                <a16:creationId xmlns:a16="http://schemas.microsoft.com/office/drawing/2014/main" id="{10DDD627-54A4-C29B-C619-4A3ECE6E7AC9}"/>
              </a:ext>
            </a:extLst>
          </p:cNvPr>
          <p:cNvGrpSpPr/>
          <p:nvPr/>
        </p:nvGrpSpPr>
        <p:grpSpPr>
          <a:xfrm>
            <a:off x="334043" y="3585888"/>
            <a:ext cx="7470997" cy="93755"/>
            <a:chOff x="334043" y="3585888"/>
            <a:chExt cx="7470997" cy="93755"/>
          </a:xfrm>
        </p:grpSpPr>
        <p:cxnSp>
          <p:nvCxnSpPr>
            <p:cNvPr id="3113" name="Straight Connector 3112">
              <a:extLst>
                <a:ext uri="{FF2B5EF4-FFF2-40B4-BE49-F238E27FC236}">
                  <a16:creationId xmlns:a16="http://schemas.microsoft.com/office/drawing/2014/main" id="{8794F173-9505-E5B9-DFE7-2D489E4BDB7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380920" y="3632048"/>
              <a:ext cx="7424120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11" name="Group 3110">
              <a:extLst>
                <a:ext uri="{FF2B5EF4-FFF2-40B4-BE49-F238E27FC236}">
                  <a16:creationId xmlns:a16="http://schemas.microsoft.com/office/drawing/2014/main" id="{4A6BB1BE-350E-567D-AED2-F8B205B39DD5}"/>
                </a:ext>
              </a:extLst>
            </p:cNvPr>
            <p:cNvGrpSpPr/>
            <p:nvPr/>
          </p:nvGrpSpPr>
          <p:grpSpPr>
            <a:xfrm>
              <a:off x="334043" y="3585888"/>
              <a:ext cx="4922567" cy="93755"/>
              <a:chOff x="334043" y="3585888"/>
              <a:chExt cx="4922567" cy="93755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12481AC8-B579-275B-FA58-FE26AC48744E}"/>
                  </a:ext>
                </a:extLst>
              </p:cNvPr>
              <p:cNvSpPr/>
              <p:nvPr/>
            </p:nvSpPr>
            <p:spPr bwMode="gray">
              <a:xfrm>
                <a:off x="334043" y="3585888"/>
                <a:ext cx="93755" cy="93755"/>
              </a:xfrm>
              <a:prstGeom prst="ellipse">
                <a:avLst/>
              </a:prstGeom>
              <a:solidFill>
                <a:schemeClr val="bg2"/>
              </a:solidFill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endParaRP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678E8797-95F3-F699-873F-53DE4DD5F766}"/>
                  </a:ext>
                </a:extLst>
              </p:cNvPr>
              <p:cNvSpPr/>
              <p:nvPr/>
            </p:nvSpPr>
            <p:spPr bwMode="gray">
              <a:xfrm>
                <a:off x="5162855" y="3585888"/>
                <a:ext cx="93755" cy="93755"/>
              </a:xfrm>
              <a:prstGeom prst="ellipse">
                <a:avLst/>
              </a:prstGeom>
              <a:solidFill>
                <a:schemeClr val="bg2"/>
              </a:solidFill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161B26B0-741E-32DF-8B8F-784B10ED37A3}"/>
                  </a:ext>
                </a:extLst>
              </p:cNvPr>
              <p:cNvSpPr/>
              <p:nvPr/>
            </p:nvSpPr>
            <p:spPr bwMode="gray">
              <a:xfrm>
                <a:off x="2744169" y="3585888"/>
                <a:ext cx="93755" cy="93755"/>
              </a:xfrm>
              <a:prstGeom prst="ellipse">
                <a:avLst/>
              </a:prstGeom>
              <a:solidFill>
                <a:schemeClr val="bg2"/>
              </a:solidFill>
              <a:ln w="63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endParaRPr>
              </a:p>
            </p:txBody>
          </p:sp>
        </p:grpSp>
      </p:grpSp>
      <p:grpSp>
        <p:nvGrpSpPr>
          <p:cNvPr id="3107" name="Group 3106">
            <a:extLst>
              <a:ext uri="{FF2B5EF4-FFF2-40B4-BE49-F238E27FC236}">
                <a16:creationId xmlns:a16="http://schemas.microsoft.com/office/drawing/2014/main" id="{EAA5AFCD-15EC-E438-CC9C-B9353F1291D2}"/>
              </a:ext>
            </a:extLst>
          </p:cNvPr>
          <p:cNvGrpSpPr/>
          <p:nvPr/>
        </p:nvGrpSpPr>
        <p:grpSpPr>
          <a:xfrm>
            <a:off x="7772650" y="-17970"/>
            <a:ext cx="4461316" cy="6881022"/>
            <a:chOff x="7805041" y="-2393"/>
            <a:chExt cx="4386960" cy="6858003"/>
          </a:xfrm>
        </p:grpSpPr>
        <p:pic>
          <p:nvPicPr>
            <p:cNvPr id="14" name="Picture 13" descr="A river running through a forest&#10;&#10;Description automatically generated">
              <a:extLst>
                <a:ext uri="{FF2B5EF4-FFF2-40B4-BE49-F238E27FC236}">
                  <a16:creationId xmlns:a16="http://schemas.microsoft.com/office/drawing/2014/main" id="{D91A1C0B-A801-5AF6-C7B3-2DD2D149DF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23"/>
            <a:stretch/>
          </p:blipFill>
          <p:spPr>
            <a:xfrm>
              <a:off x="7805041" y="-2393"/>
              <a:ext cx="4386960" cy="6858000"/>
            </a:xfrm>
            <a:prstGeom prst="rect">
              <a:avLst/>
            </a:prstGeom>
          </p:spPr>
        </p:pic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96A92E58-5A49-6473-3C39-754A6E0A9B38}"/>
                </a:ext>
              </a:extLst>
            </p:cNvPr>
            <p:cNvSpPr/>
            <p:nvPr/>
          </p:nvSpPr>
          <p:spPr bwMode="gray">
            <a:xfrm rot="5400000">
              <a:off x="6569519" y="1233131"/>
              <a:ext cx="6858001" cy="4386958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alpha val="28000"/>
                  </a:srgbClr>
                </a:gs>
                <a:gs pos="69000">
                  <a:srgbClr val="000000">
                    <a:alpha val="15686"/>
                  </a:srgbClr>
                </a:gs>
              </a:gsLst>
              <a:lin ang="16200000" scaled="1"/>
              <a:tileRect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3087" name="Straight Connector 3086">
            <a:extLst>
              <a:ext uri="{FF2B5EF4-FFF2-40B4-BE49-F238E27FC236}">
                <a16:creationId xmlns:a16="http://schemas.microsoft.com/office/drawing/2014/main" id="{81770B43-1905-2819-429A-196C2E305127}"/>
              </a:ext>
            </a:extLst>
          </p:cNvPr>
          <p:cNvCxnSpPr>
            <a:cxnSpLocks/>
          </p:cNvCxnSpPr>
          <p:nvPr/>
        </p:nvCxnSpPr>
        <p:spPr bwMode="gray">
          <a:xfrm>
            <a:off x="7778284" y="3636611"/>
            <a:ext cx="405095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ubtitle 32">
            <a:extLst>
              <a:ext uri="{FF2B5EF4-FFF2-40B4-BE49-F238E27FC236}">
                <a16:creationId xmlns:a16="http://schemas.microsoft.com/office/drawing/2014/main" id="{1A20D4B6-B047-6404-B34D-462125F3517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2367" y="1138373"/>
            <a:ext cx="6456360" cy="504000"/>
          </a:xfrm>
        </p:spPr>
        <p:txBody>
          <a:bodyPr/>
          <a:lstStyle/>
          <a:p>
            <a:r>
              <a:rPr lang="en-US" b="0" dirty="0">
                <a:latin typeface="ABBvoice Light"/>
              </a:rPr>
              <a:t>Focus on a low-carbon society, resources and social progress </a:t>
            </a:r>
            <a:r>
              <a:rPr lang="en-US" sz="2000" b="0" dirty="0"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through a culture of integrity + transparency</a:t>
            </a:r>
            <a:endParaRPr lang="en-US" b="0" dirty="0">
              <a:latin typeface="ABBvoice Light"/>
            </a:endParaRPr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23CBC10F-46D0-F65D-1F9C-D33CC87F0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ility at ABB</a:t>
            </a:r>
          </a:p>
        </p:txBody>
      </p:sp>
      <p:pic>
        <p:nvPicPr>
          <p:cNvPr id="25" name="Picture 24" descr="A blue and white beach&#10;&#10;Description automatically generated">
            <a:extLst>
              <a:ext uri="{FF2B5EF4-FFF2-40B4-BE49-F238E27FC236}">
                <a16:creationId xmlns:a16="http://schemas.microsoft.com/office/drawing/2014/main" id="{A8CB47B3-CB71-2F7C-444B-25EA78E12D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2744169" y="3916532"/>
            <a:ext cx="2286183" cy="2637056"/>
          </a:xfrm>
          <a:prstGeom prst="rect">
            <a:avLst/>
          </a:prstGeom>
        </p:spPr>
      </p:pic>
      <p:pic>
        <p:nvPicPr>
          <p:cNvPr id="24" name="Picture 23" descr="A group of people walking on a stone walkway&#10;&#10;Description automatically generated">
            <a:extLst>
              <a:ext uri="{FF2B5EF4-FFF2-40B4-BE49-F238E27FC236}">
                <a16:creationId xmlns:a16="http://schemas.microsoft.com/office/drawing/2014/main" id="{C94F21C0-AB60-B9BD-2195-6804125B509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62855" y="3916540"/>
            <a:ext cx="2287528" cy="2637053"/>
          </a:xfrm>
          <a:prstGeom prst="rect">
            <a:avLst/>
          </a:prstGeom>
        </p:spPr>
      </p:pic>
      <p:pic>
        <p:nvPicPr>
          <p:cNvPr id="28" name="Picture 27" descr="A river running through a forest&#10;&#10;Description automatically generated">
            <a:extLst>
              <a:ext uri="{FF2B5EF4-FFF2-40B4-BE49-F238E27FC236}">
                <a16:creationId xmlns:a16="http://schemas.microsoft.com/office/drawing/2014/main" id="{54884DF8-468D-515D-8990-0C5916C8FE9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27782" y="3916540"/>
            <a:ext cx="2286184" cy="2637058"/>
          </a:xfrm>
          <a:prstGeom prst="rect">
            <a:avLst/>
          </a:prstGeom>
        </p:spPr>
      </p:pic>
      <p:grpSp>
        <p:nvGrpSpPr>
          <p:cNvPr id="3101" name="Group 3100">
            <a:extLst>
              <a:ext uri="{FF2B5EF4-FFF2-40B4-BE49-F238E27FC236}">
                <a16:creationId xmlns:a16="http://schemas.microsoft.com/office/drawing/2014/main" id="{99F2652B-2D33-B60B-0CBE-DF6609270F7A}"/>
              </a:ext>
            </a:extLst>
          </p:cNvPr>
          <p:cNvGrpSpPr/>
          <p:nvPr/>
        </p:nvGrpSpPr>
        <p:grpSpPr>
          <a:xfrm>
            <a:off x="5211712" y="4525040"/>
            <a:ext cx="2189814" cy="1499060"/>
            <a:chOff x="5397536" y="4409776"/>
            <a:chExt cx="2189814" cy="1499060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0E13134-62AC-1D73-015D-B39991995BCA}"/>
                </a:ext>
              </a:extLst>
            </p:cNvPr>
            <p:cNvSpPr txBox="1"/>
            <p:nvPr/>
          </p:nvSpPr>
          <p:spPr bwMode="gray">
            <a:xfrm>
              <a:off x="5397536" y="5324061"/>
              <a:ext cx="218981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SOCIAL </a:t>
              </a:r>
              <a:b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</a:br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PROGRESS </a:t>
              </a: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A2E2C674-FC7A-21A9-EC44-9178EA8DB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6090459" y="4409776"/>
              <a:ext cx="803969" cy="803969"/>
            </a:xfrm>
            <a:prstGeom prst="rect">
              <a:avLst/>
            </a:prstGeom>
          </p:spPr>
        </p:pic>
      </p:grpSp>
      <p:grpSp>
        <p:nvGrpSpPr>
          <p:cNvPr id="3100" name="Group 3099">
            <a:extLst>
              <a:ext uri="{FF2B5EF4-FFF2-40B4-BE49-F238E27FC236}">
                <a16:creationId xmlns:a16="http://schemas.microsoft.com/office/drawing/2014/main" id="{F5BCE836-B9A9-825F-2A7C-86ED43C2346F}"/>
              </a:ext>
            </a:extLst>
          </p:cNvPr>
          <p:cNvGrpSpPr/>
          <p:nvPr/>
        </p:nvGrpSpPr>
        <p:grpSpPr>
          <a:xfrm>
            <a:off x="2769680" y="4414609"/>
            <a:ext cx="2235161" cy="1609491"/>
            <a:chOff x="2780246" y="4299345"/>
            <a:chExt cx="2235161" cy="160949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67C2313-7745-0863-EC08-2F2128494889}"/>
                </a:ext>
              </a:extLst>
            </p:cNvPr>
            <p:cNvSpPr txBox="1"/>
            <p:nvPr/>
          </p:nvSpPr>
          <p:spPr bwMode="gray">
            <a:xfrm>
              <a:off x="2780246" y="5324061"/>
              <a:ext cx="2235161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PRESERVE </a:t>
              </a:r>
              <a:b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</a:br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RESOURCES </a:t>
              </a: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66C40CC8-25B3-A4D9-4BA7-26BDF6F6CC5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 flipH="1">
              <a:off x="3440626" y="4299345"/>
              <a:ext cx="914400" cy="914400"/>
            </a:xfrm>
            <a:prstGeom prst="rect">
              <a:avLst/>
            </a:prstGeom>
          </p:spPr>
        </p:pic>
      </p:grpSp>
      <p:grpSp>
        <p:nvGrpSpPr>
          <p:cNvPr id="3099" name="Group 3098">
            <a:extLst>
              <a:ext uri="{FF2B5EF4-FFF2-40B4-BE49-F238E27FC236}">
                <a16:creationId xmlns:a16="http://schemas.microsoft.com/office/drawing/2014/main" id="{56428B30-FA58-B68B-6606-7ECE6C7525C5}"/>
              </a:ext>
            </a:extLst>
          </p:cNvPr>
          <p:cNvGrpSpPr/>
          <p:nvPr/>
        </p:nvGrpSpPr>
        <p:grpSpPr>
          <a:xfrm>
            <a:off x="569765" y="4495917"/>
            <a:ext cx="1802218" cy="1528183"/>
            <a:chOff x="403019" y="4380653"/>
            <a:chExt cx="1802218" cy="1528183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5BAE8DC-2C26-A96A-CA53-A3D143515A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887583" y="4380653"/>
              <a:ext cx="833091" cy="833091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D9DCFCD7-58E6-9616-A6EE-9A4CF84CE1CA}"/>
                </a:ext>
              </a:extLst>
            </p:cNvPr>
            <p:cNvSpPr txBox="1"/>
            <p:nvPr/>
          </p:nvSpPr>
          <p:spPr bwMode="gray">
            <a:xfrm>
              <a:off x="403019" y="5324061"/>
              <a:ext cx="1802218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LOW-CARBON </a:t>
              </a:r>
              <a:b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</a:br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SOCIETY </a:t>
              </a:r>
            </a:p>
          </p:txBody>
        </p:sp>
      </p:grpSp>
      <p:sp>
        <p:nvSpPr>
          <p:cNvPr id="45" name="Content Placeholder 16">
            <a:extLst>
              <a:ext uri="{FF2B5EF4-FFF2-40B4-BE49-F238E27FC236}">
                <a16:creationId xmlns:a16="http://schemas.microsoft.com/office/drawing/2014/main" id="{54F99E54-48F6-E8FF-5D28-AF71993F2905}"/>
              </a:ext>
            </a:extLst>
          </p:cNvPr>
          <p:cNvSpPr txBox="1">
            <a:spLocks/>
          </p:cNvSpPr>
          <p:nvPr/>
        </p:nvSpPr>
        <p:spPr>
          <a:xfrm>
            <a:off x="327782" y="1975942"/>
            <a:ext cx="1972836" cy="138794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/>
              <a:t>We are committed </a:t>
            </a:r>
            <a:br>
              <a:rPr lang="en-US" dirty="0"/>
            </a:br>
            <a:r>
              <a:rPr lang="en-US" dirty="0"/>
              <a:t>to reaching net zero by</a:t>
            </a:r>
          </a:p>
          <a:p>
            <a:pPr>
              <a:spcBef>
                <a:spcPts val="0"/>
              </a:spcBef>
            </a:pPr>
            <a:r>
              <a:rPr lang="en-US" dirty="0"/>
              <a:t>2050 and to enabling</a:t>
            </a:r>
          </a:p>
          <a:p>
            <a:pPr>
              <a:spcBef>
                <a:spcPts val="0"/>
              </a:spcBef>
            </a:pPr>
            <a:r>
              <a:rPr lang="en-US" dirty="0"/>
              <a:t>our customers</a:t>
            </a:r>
          </a:p>
          <a:p>
            <a:pPr>
              <a:spcBef>
                <a:spcPts val="0"/>
              </a:spcBef>
            </a:pPr>
            <a:r>
              <a:rPr lang="en-US" dirty="0"/>
              <a:t>to avoid emissions</a:t>
            </a:r>
          </a:p>
        </p:txBody>
      </p:sp>
      <p:sp>
        <p:nvSpPr>
          <p:cNvPr id="47" name="Content Placeholder 17">
            <a:extLst>
              <a:ext uri="{FF2B5EF4-FFF2-40B4-BE49-F238E27FC236}">
                <a16:creationId xmlns:a16="http://schemas.microsoft.com/office/drawing/2014/main" id="{7091A547-14C5-B809-A2E9-FE7A63347576}"/>
              </a:ext>
            </a:extLst>
          </p:cNvPr>
          <p:cNvSpPr txBox="1">
            <a:spLocks/>
          </p:cNvSpPr>
          <p:nvPr/>
        </p:nvSpPr>
        <p:spPr>
          <a:xfrm>
            <a:off x="2744169" y="1975942"/>
            <a:ext cx="2024371" cy="138794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/>
              <a:t>We embed circularity</a:t>
            </a:r>
          </a:p>
          <a:p>
            <a:pPr>
              <a:spcBef>
                <a:spcPts val="0"/>
              </a:spcBef>
            </a:pPr>
            <a:r>
              <a:rPr lang="en-US" dirty="0"/>
              <a:t>in our products, reduce</a:t>
            </a:r>
          </a:p>
          <a:p>
            <a:pPr>
              <a:spcBef>
                <a:spcPts val="0"/>
              </a:spcBef>
            </a:pPr>
            <a:r>
              <a:rPr lang="en-US" dirty="0"/>
              <a:t>waste, protect water</a:t>
            </a:r>
          </a:p>
          <a:p>
            <a:pPr>
              <a:spcBef>
                <a:spcPts val="0"/>
              </a:spcBef>
            </a:pPr>
            <a:r>
              <a:rPr lang="en-US" dirty="0"/>
              <a:t>and biodiversity, and</a:t>
            </a:r>
          </a:p>
          <a:p>
            <a:pPr>
              <a:spcBef>
                <a:spcPts val="0"/>
              </a:spcBef>
            </a:pPr>
            <a:r>
              <a:rPr lang="en-US" dirty="0"/>
              <a:t>use land responsibly</a:t>
            </a:r>
            <a:endParaRPr lang="pl-PL" dirty="0"/>
          </a:p>
        </p:txBody>
      </p:sp>
      <p:sp>
        <p:nvSpPr>
          <p:cNvPr id="48" name="Content Placeholder 18">
            <a:extLst>
              <a:ext uri="{FF2B5EF4-FFF2-40B4-BE49-F238E27FC236}">
                <a16:creationId xmlns:a16="http://schemas.microsoft.com/office/drawing/2014/main" id="{B7A5CEA4-D0D2-C7E0-73AD-03AE999B2903}"/>
              </a:ext>
            </a:extLst>
          </p:cNvPr>
          <p:cNvSpPr txBox="1">
            <a:spLocks/>
          </p:cNvSpPr>
          <p:nvPr/>
        </p:nvSpPr>
        <p:spPr>
          <a:xfrm>
            <a:off x="5162855" y="1975942"/>
            <a:ext cx="2097880" cy="1387941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dirty="0"/>
              <a:t>We take care of our</a:t>
            </a:r>
          </a:p>
          <a:p>
            <a:pPr>
              <a:spcBef>
                <a:spcPts val="0"/>
              </a:spcBef>
            </a:pPr>
            <a:r>
              <a:rPr lang="en-US" dirty="0"/>
              <a:t>people and promote</a:t>
            </a:r>
          </a:p>
          <a:p>
            <a:pPr>
              <a:spcBef>
                <a:spcPts val="0"/>
              </a:spcBef>
            </a:pPr>
            <a:r>
              <a:rPr lang="en-US" dirty="0"/>
              <a:t>social progress with</a:t>
            </a:r>
          </a:p>
          <a:p>
            <a:pPr>
              <a:spcBef>
                <a:spcPts val="0"/>
              </a:spcBef>
            </a:pPr>
            <a:r>
              <a:rPr lang="en-US" dirty="0"/>
              <a:t>our partners, suppliers</a:t>
            </a:r>
          </a:p>
          <a:p>
            <a:pPr>
              <a:spcBef>
                <a:spcPts val="0"/>
              </a:spcBef>
            </a:pPr>
            <a:r>
              <a:rPr lang="en-US" dirty="0"/>
              <a:t>and communiti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617EE7B-6992-7D33-81E4-E1C126FC0581}"/>
              </a:ext>
            </a:extLst>
          </p:cNvPr>
          <p:cNvSpPr txBox="1"/>
          <p:nvPr/>
        </p:nvSpPr>
        <p:spPr bwMode="gray">
          <a:xfrm>
            <a:off x="8170147" y="4083101"/>
            <a:ext cx="2516732" cy="369332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2023 Ecovadis Gold 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1EC3868-ECC9-6809-D423-E50A13AF9E08}"/>
              </a:ext>
            </a:extLst>
          </p:cNvPr>
          <p:cNvSpPr txBox="1"/>
          <p:nvPr/>
        </p:nvSpPr>
        <p:spPr bwMode="gray">
          <a:xfrm>
            <a:off x="8160392" y="3679534"/>
            <a:ext cx="2396715" cy="353739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AAA </a:t>
            </a:r>
            <a:r>
              <a:rPr lang="en-US" sz="22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rating 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EA8F594-F640-2A9E-9D89-8878CB73DCCE}"/>
              </a:ext>
            </a:extLst>
          </p:cNvPr>
          <p:cNvSpPr/>
          <p:nvPr/>
        </p:nvSpPr>
        <p:spPr bwMode="gray">
          <a:xfrm>
            <a:off x="7918657" y="3335595"/>
            <a:ext cx="3502455" cy="24867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0" bIns="0" rtlCol="0" anchor="ctr" anchorCtr="0">
            <a:noAutofit/>
          </a:bodyPr>
          <a:lstStyle/>
          <a:p>
            <a:pPr defTabSz="914491">
              <a:spcBef>
                <a:spcPts val="600"/>
              </a:spcBef>
            </a:pPr>
            <a:r>
              <a:rPr lang="en-US" sz="1200" spc="20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 MSCI ESG</a:t>
            </a:r>
          </a:p>
        </p:txBody>
      </p:sp>
      <p:pic>
        <p:nvPicPr>
          <p:cNvPr id="42" name="Picture 41" descr="A white circle with black text and a gold ribbon&#10;&#10;Description automatically generated">
            <a:extLst>
              <a:ext uri="{FF2B5EF4-FFF2-40B4-BE49-F238E27FC236}">
                <a16:creationId xmlns:a16="http://schemas.microsoft.com/office/drawing/2014/main" id="{B53221B0-37FD-18D8-24D7-49460D768A7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1702" y="3257606"/>
            <a:ext cx="778395" cy="778395"/>
          </a:xfrm>
          <a:prstGeom prst="rect">
            <a:avLst/>
          </a:prstGeom>
        </p:spPr>
      </p:pic>
      <p:cxnSp>
        <p:nvCxnSpPr>
          <p:cNvPr id="3076" name="Straight Connector 3075">
            <a:extLst>
              <a:ext uri="{FF2B5EF4-FFF2-40B4-BE49-F238E27FC236}">
                <a16:creationId xmlns:a16="http://schemas.microsoft.com/office/drawing/2014/main" id="{8F084BE5-6DFE-8914-F56F-C7CCF64AF2CA}"/>
              </a:ext>
            </a:extLst>
          </p:cNvPr>
          <p:cNvCxnSpPr>
            <a:cxnSpLocks/>
          </p:cNvCxnSpPr>
          <p:nvPr/>
        </p:nvCxnSpPr>
        <p:spPr bwMode="gray">
          <a:xfrm>
            <a:off x="7778284" y="1996320"/>
            <a:ext cx="405095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F6FF8A0F-AC44-8BF3-D50B-6F630B980D5D}"/>
              </a:ext>
            </a:extLst>
          </p:cNvPr>
          <p:cNvSpPr txBox="1"/>
          <p:nvPr/>
        </p:nvSpPr>
        <p:spPr bwMode="gray">
          <a:xfrm>
            <a:off x="8160392" y="2033863"/>
            <a:ext cx="3400560" cy="430821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Autofit/>
          </a:bodyPr>
          <a:lstStyle/>
          <a:p>
            <a:r>
              <a:rPr lang="en-US" sz="22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A</a:t>
            </a:r>
            <a:r>
              <a:rPr lang="en-US" sz="2200" b="1" spc="-15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– </a:t>
            </a:r>
            <a:r>
              <a:rPr lang="en-US" sz="22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List </a:t>
            </a:r>
            <a:r>
              <a:rPr lang="en-US" sz="28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2023</a:t>
            </a:r>
            <a:endParaRPr lang="en-US" sz="1100" dirty="0">
              <a:solidFill>
                <a:schemeClr val="bg1"/>
              </a:solidFill>
              <a:latin typeface="ABBvoice"/>
              <a:ea typeface="ABBvoice" panose="020D0603020503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0C0E4642-1ADE-E5C3-B4D2-D889D32982B3}"/>
              </a:ext>
            </a:extLst>
          </p:cNvPr>
          <p:cNvSpPr/>
          <p:nvPr/>
        </p:nvSpPr>
        <p:spPr bwMode="gray">
          <a:xfrm>
            <a:off x="7904089" y="1733354"/>
            <a:ext cx="3623620" cy="24867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0" bIns="0" rtlCol="0" anchor="ctr" anchorCtr="0">
            <a:noAutofit/>
          </a:bodyPr>
          <a:lstStyle/>
          <a:p>
            <a:pPr defTabSz="914491">
              <a:spcBef>
                <a:spcPts val="600"/>
              </a:spcBef>
            </a:pPr>
            <a:r>
              <a:rPr lang="en-US" sz="1200" spc="20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 CARBON DISCLOSURE PROJECT </a:t>
            </a:r>
          </a:p>
        </p:txBody>
      </p:sp>
      <p:sp>
        <p:nvSpPr>
          <p:cNvPr id="3073" name="TextBox 3072">
            <a:extLst>
              <a:ext uri="{FF2B5EF4-FFF2-40B4-BE49-F238E27FC236}">
                <a16:creationId xmlns:a16="http://schemas.microsoft.com/office/drawing/2014/main" id="{51999064-AA16-39CD-EC7F-61EDA517BD6A}"/>
              </a:ext>
            </a:extLst>
          </p:cNvPr>
          <p:cNvSpPr txBox="1"/>
          <p:nvPr/>
        </p:nvSpPr>
        <p:spPr bwMode="gray">
          <a:xfrm>
            <a:off x="8160392" y="2427346"/>
            <a:ext cx="3127189" cy="423681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ABBvoice"/>
              </a:rPr>
              <a:t>Leadership in corporate </a:t>
            </a:r>
            <a:br>
              <a:rPr lang="en-US" sz="1600" dirty="0">
                <a:solidFill>
                  <a:schemeClr val="bg1"/>
                </a:solidFill>
                <a:latin typeface="ABBvoice"/>
              </a:rPr>
            </a:br>
            <a:r>
              <a:rPr lang="en-US" sz="1600" dirty="0">
                <a:solidFill>
                  <a:schemeClr val="bg1"/>
                </a:solidFill>
                <a:latin typeface="ABBvoice"/>
              </a:rPr>
              <a:t>transparency + performance</a:t>
            </a:r>
          </a:p>
        </p:txBody>
      </p:sp>
      <p:sp>
        <p:nvSpPr>
          <p:cNvPr id="3089" name="Oval 3088">
            <a:extLst>
              <a:ext uri="{FF2B5EF4-FFF2-40B4-BE49-F238E27FC236}">
                <a16:creationId xmlns:a16="http://schemas.microsoft.com/office/drawing/2014/main" id="{DA6A9627-2AEB-DE3B-517F-8965B280EDA5}"/>
              </a:ext>
            </a:extLst>
          </p:cNvPr>
          <p:cNvSpPr/>
          <p:nvPr/>
        </p:nvSpPr>
        <p:spPr bwMode="gray">
          <a:xfrm>
            <a:off x="11233825" y="1625018"/>
            <a:ext cx="754148" cy="754146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pic>
        <p:nvPicPr>
          <p:cNvPr id="3108" name="Graphic 3107">
            <a:extLst>
              <a:ext uri="{FF2B5EF4-FFF2-40B4-BE49-F238E27FC236}">
                <a16:creationId xmlns:a16="http://schemas.microsoft.com/office/drawing/2014/main" id="{3FEA9901-6473-0170-DCAB-7C94EB0FEFD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380044" y="1753717"/>
            <a:ext cx="475976" cy="475976"/>
          </a:xfrm>
          <a:prstGeom prst="rect">
            <a:avLst/>
          </a:prstGeom>
        </p:spPr>
      </p:pic>
      <p:cxnSp>
        <p:nvCxnSpPr>
          <p:cNvPr id="3079" name="Straight Connector 3078">
            <a:extLst>
              <a:ext uri="{FF2B5EF4-FFF2-40B4-BE49-F238E27FC236}">
                <a16:creationId xmlns:a16="http://schemas.microsoft.com/office/drawing/2014/main" id="{94F936AB-556A-43FF-06C4-F4D902293990}"/>
              </a:ext>
            </a:extLst>
          </p:cNvPr>
          <p:cNvCxnSpPr>
            <a:cxnSpLocks/>
          </p:cNvCxnSpPr>
          <p:nvPr/>
        </p:nvCxnSpPr>
        <p:spPr bwMode="gray">
          <a:xfrm>
            <a:off x="7778284" y="5276902"/>
            <a:ext cx="4050952" cy="0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37A7703-C7E5-DFB6-2FB0-13CE9DB30DC0}"/>
              </a:ext>
            </a:extLst>
          </p:cNvPr>
          <p:cNvGrpSpPr/>
          <p:nvPr/>
        </p:nvGrpSpPr>
        <p:grpSpPr>
          <a:xfrm>
            <a:off x="8165665" y="5356559"/>
            <a:ext cx="3056037" cy="928661"/>
            <a:chOff x="8595197" y="4884390"/>
            <a:chExt cx="3056037" cy="928661"/>
          </a:xfrm>
        </p:grpSpPr>
        <p:sp>
          <p:nvSpPr>
            <p:cNvPr id="21" name="Content Placeholder 32">
              <a:extLst>
                <a:ext uri="{FF2B5EF4-FFF2-40B4-BE49-F238E27FC236}">
                  <a16:creationId xmlns:a16="http://schemas.microsoft.com/office/drawing/2014/main" id="{9EC51400-838C-83EF-2E20-8EDCDD0F130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595197" y="4884390"/>
              <a:ext cx="1157953" cy="928661"/>
            </a:xfrm>
            <a:prstGeom prst="rect">
              <a:avLst/>
            </a:prstGeom>
          </p:spPr>
          <p:txBody>
            <a:bodyPr vert="horz" lIns="0" tIns="0" rIns="0" bIns="0" anchor="t" anchorCtr="0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>
                  <a:tab pos="115888" algn="l"/>
                </a:tabLst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BBvoice"/>
                  <a:ea typeface="ABBvoice Light" panose="020D0403020503020204" pitchFamily="34" charset="0"/>
                  <a:cs typeface="ABBvoice Light" panose="020D0403020503020204" pitchFamily="34" charset="0"/>
                </a:rPr>
                <a:t>80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BBvoice"/>
                  <a:ea typeface="ABBvoice Light" panose="020D0403020503020204" pitchFamily="34" charset="0"/>
                  <a:cs typeface="ABBvoice Light" panose="020D0403020503020204" pitchFamily="34" charset="0"/>
                </a:rPr>
                <a:t>%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E19ED82-DAE1-1C72-5EE1-6BEB4921DFD6}"/>
                </a:ext>
              </a:extLst>
            </p:cNvPr>
            <p:cNvSpPr txBox="1"/>
            <p:nvPr/>
          </p:nvSpPr>
          <p:spPr bwMode="gray">
            <a:xfrm>
              <a:off x="8599679" y="5237333"/>
              <a:ext cx="3051555" cy="369332"/>
            </a:xfrm>
            <a:prstGeom prst="rect">
              <a:avLst/>
            </a:prstGeom>
            <a:noFill/>
          </p:spPr>
          <p:txBody>
            <a:bodyPr vert="horz" wrap="square" lIns="0" tIns="0" rIns="0" bIns="0" anchor="t" anchorCtr="0">
              <a:noAutofit/>
            </a:bodyPr>
            <a:lstStyle/>
            <a:p>
              <a:r>
                <a:rPr lang="en-US" sz="2000" b="1" dirty="0">
                  <a:solidFill>
                    <a:schemeClr val="bg1"/>
                  </a:solidFill>
                  <a:latin typeface="ABBvoice"/>
                  <a:ea typeface="ABBvoice Light" panose="020D0403020503020204" pitchFamily="34" charset="0"/>
                  <a:cs typeface="ABBvoice Light" panose="020D0403020503020204" pitchFamily="34" charset="0"/>
                </a:rPr>
                <a:t>emissions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BBvoice"/>
                  <a:ea typeface="ABBvoice Light" panose="020D0403020503020204" pitchFamily="34" charset="0"/>
                  <a:cs typeface="ABBvoice Light" panose="020D0403020503020204" pitchFamily="34" charset="0"/>
                </a:rPr>
                <a:t>reduction</a:t>
              </a:r>
              <a:endParaRPr lang="en-US" sz="2000" dirty="0"/>
            </a:p>
          </p:txBody>
        </p:sp>
      </p:grpSp>
      <p:sp>
        <p:nvSpPr>
          <p:cNvPr id="26" name="Content Placeholder 32">
            <a:extLst>
              <a:ext uri="{FF2B5EF4-FFF2-40B4-BE49-F238E27FC236}">
                <a16:creationId xmlns:a16="http://schemas.microsoft.com/office/drawing/2014/main" id="{B9DD1781-1188-A3EB-EB92-F63F09204D6A}"/>
              </a:ext>
            </a:extLst>
          </p:cNvPr>
          <p:cNvSpPr txBox="1">
            <a:spLocks/>
          </p:cNvSpPr>
          <p:nvPr/>
        </p:nvSpPr>
        <p:spPr bwMode="gray">
          <a:xfrm>
            <a:off x="8166078" y="6009600"/>
            <a:ext cx="3162050" cy="154338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68275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cope 1 + 2 emissions vs. 2019 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C9FC71C-5116-004C-6A9D-F479CB88DA1A}"/>
              </a:ext>
            </a:extLst>
          </p:cNvPr>
          <p:cNvSpPr/>
          <p:nvPr/>
        </p:nvSpPr>
        <p:spPr bwMode="gray">
          <a:xfrm>
            <a:off x="7908571" y="5014170"/>
            <a:ext cx="3623621" cy="248679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37160" tIns="0" rIns="0" bIns="0" rtlCol="0" anchor="ctr" anchorCtr="0">
            <a:noAutofit/>
          </a:bodyPr>
          <a:lstStyle/>
          <a:p>
            <a:pPr defTabSz="914491">
              <a:spcBef>
                <a:spcPts val="600"/>
              </a:spcBef>
            </a:pPr>
            <a:r>
              <a:rPr lang="en-US" sz="1200" spc="20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 2030 TARGET ACHIEVED </a:t>
            </a:r>
          </a:p>
        </p:txBody>
      </p:sp>
      <p:grpSp>
        <p:nvGrpSpPr>
          <p:cNvPr id="3075" name="Group 3074">
            <a:extLst>
              <a:ext uri="{FF2B5EF4-FFF2-40B4-BE49-F238E27FC236}">
                <a16:creationId xmlns:a16="http://schemas.microsoft.com/office/drawing/2014/main" id="{F2327F0D-933B-9F13-204A-2A1FF28D81CE}"/>
              </a:ext>
            </a:extLst>
          </p:cNvPr>
          <p:cNvGrpSpPr/>
          <p:nvPr/>
        </p:nvGrpSpPr>
        <p:grpSpPr>
          <a:xfrm>
            <a:off x="11233825" y="4899773"/>
            <a:ext cx="754148" cy="754146"/>
            <a:chOff x="11225792" y="5661837"/>
            <a:chExt cx="754148" cy="75414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F026FBD9-C506-AF3E-7098-4AC369FE3662}"/>
                </a:ext>
              </a:extLst>
            </p:cNvPr>
            <p:cNvSpPr/>
            <p:nvPr/>
          </p:nvSpPr>
          <p:spPr bwMode="gray">
            <a:xfrm>
              <a:off x="11225792" y="5661837"/>
              <a:ext cx="754148" cy="75414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EA780F39-A392-CF0B-15B4-044CED51B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1355475" y="5771393"/>
              <a:ext cx="520467" cy="520467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F8B4C68-908A-DA6F-A923-2760C6BD9832}"/>
              </a:ext>
            </a:extLst>
          </p:cNvPr>
          <p:cNvSpPr txBox="1"/>
          <p:nvPr/>
        </p:nvSpPr>
        <p:spPr bwMode="gray">
          <a:xfrm>
            <a:off x="8947576" y="5444756"/>
            <a:ext cx="3051555" cy="369332"/>
          </a:xfrm>
          <a:prstGeom prst="rect">
            <a:avLst/>
          </a:prstGeom>
          <a:noFill/>
        </p:spPr>
        <p:txBody>
          <a:bodyPr vert="horz" wrap="square" lIns="0" tIns="0" rIns="0" bIns="0" anchor="t" anchorCtr="0">
            <a:noAutofit/>
          </a:bodyPr>
          <a:lstStyle/>
          <a:p>
            <a:r>
              <a:rPr lang="en-US" sz="20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Electrification</a:t>
            </a:r>
            <a:endParaRPr lang="en-US" sz="200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6E7F38A-4EC3-C44E-2A6A-5F9DB996C413}"/>
              </a:ext>
            </a:extLst>
          </p:cNvPr>
          <p:cNvSpPr txBox="1">
            <a:spLocks/>
          </p:cNvSpPr>
          <p:nvPr/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1C19C3AA-375B-C49B-5B3C-D79DCBBEB29E}"/>
              </a:ext>
            </a:extLst>
          </p:cNvPr>
          <p:cNvSpPr txBox="1">
            <a:spLocks/>
          </p:cNvSpPr>
          <p:nvPr/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8"/>
            <a:r>
              <a:rPr lang="en-US"/>
              <a:t> 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8D822F6-CB5D-B9F4-906E-43762EDD89A9}"/>
              </a:ext>
            </a:extLst>
          </p:cNvPr>
          <p:cNvSpPr txBox="1">
            <a:spLocks/>
          </p:cNvSpPr>
          <p:nvPr/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560338"/>
      </p:ext>
    </p:extLst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DA5B153-0F2B-A5E7-EC93-4AA3838FD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421" y="681752"/>
            <a:ext cx="11473402" cy="396000"/>
          </a:xfrm>
        </p:spPr>
        <p:txBody>
          <a:bodyPr/>
          <a:lstStyle/>
          <a:p>
            <a:r>
              <a:rPr lang="en-US" sz="2800" dirty="0"/>
              <a:t>Supporting customers in a wide range of secto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9EB067C-AC90-D688-5B5D-431145A8959A}"/>
              </a:ext>
            </a:extLst>
          </p:cNvPr>
          <p:cNvGrpSpPr/>
          <p:nvPr/>
        </p:nvGrpSpPr>
        <p:grpSpPr>
          <a:xfrm>
            <a:off x="337752" y="1275798"/>
            <a:ext cx="11330831" cy="5212935"/>
            <a:chOff x="381069" y="1454332"/>
            <a:chExt cx="11330831" cy="5212935"/>
          </a:xfrm>
        </p:grpSpPr>
        <p:pic>
          <p:nvPicPr>
            <p:cNvPr id="69" name="Content Placeholder 56">
              <a:extLst>
                <a:ext uri="{FF2B5EF4-FFF2-40B4-BE49-F238E27FC236}">
                  <a16:creationId xmlns:a16="http://schemas.microsoft.com/office/drawing/2014/main" id="{40179935-2EB4-EF3D-71DA-F3AC5C847C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8"/>
            <a:stretch/>
          </p:blipFill>
          <p:spPr>
            <a:xfrm>
              <a:off x="7393374" y="1454332"/>
              <a:ext cx="4318526" cy="2482617"/>
            </a:xfrm>
            <a:prstGeom prst="rect">
              <a:avLst/>
            </a:prstGeom>
          </p:spPr>
        </p:pic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CD4E08B-0D3D-C3E6-DD3B-975949AD69E3}"/>
                </a:ext>
              </a:extLst>
            </p:cNvPr>
            <p:cNvSpPr/>
            <p:nvPr/>
          </p:nvSpPr>
          <p:spPr bwMode="gray">
            <a:xfrm flipH="1">
              <a:off x="7393927" y="3264991"/>
              <a:ext cx="4308490" cy="671956"/>
            </a:xfrm>
            <a:prstGeom prst="rect">
              <a:avLst/>
            </a:prstGeom>
            <a:gradFill>
              <a:gsLst>
                <a:gs pos="1724">
                  <a:schemeClr val="tx1">
                    <a:alpha val="0"/>
                  </a:schemeClr>
                </a:gs>
                <a:gs pos="95000">
                  <a:schemeClr val="tx1">
                    <a:alpha val="21000"/>
                  </a:scheme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0C9E98C9-678F-BB0A-40F5-DC4F56981E8F}"/>
                </a:ext>
              </a:extLst>
            </p:cNvPr>
            <p:cNvSpPr/>
            <p:nvPr/>
          </p:nvSpPr>
          <p:spPr bwMode="gray">
            <a:xfrm rot="16200000" flipH="1">
              <a:off x="10012238" y="2242953"/>
              <a:ext cx="2482619" cy="916705"/>
            </a:xfrm>
            <a:prstGeom prst="rect">
              <a:avLst/>
            </a:prstGeom>
            <a:gradFill>
              <a:gsLst>
                <a:gs pos="1724">
                  <a:schemeClr val="tx1">
                    <a:alpha val="0"/>
                  </a:schemeClr>
                </a:gs>
                <a:gs pos="95000">
                  <a:schemeClr val="tx1">
                    <a:alpha val="19000"/>
                  </a:scheme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295DAE6-025E-403E-5DF9-7C612719D79D}"/>
                </a:ext>
              </a:extLst>
            </p:cNvPr>
            <p:cNvSpPr txBox="1"/>
            <p:nvPr/>
          </p:nvSpPr>
          <p:spPr bwMode="gray">
            <a:xfrm rot="16200000">
              <a:off x="10373598" y="2412032"/>
              <a:ext cx="2267344" cy="352866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</a:rPr>
                <a:t>OTHER</a:t>
              </a:r>
              <a:endParaRPr lang="en-US" dirty="0"/>
            </a:p>
          </p:txBody>
        </p:sp>
        <p:sp>
          <p:nvSpPr>
            <p:cNvPr id="82" name="Text Placeholder 2">
              <a:extLst>
                <a:ext uri="{FF2B5EF4-FFF2-40B4-BE49-F238E27FC236}">
                  <a16:creationId xmlns:a16="http://schemas.microsoft.com/office/drawing/2014/main" id="{38849E05-EC5E-5297-7624-F9435760BB7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7537419" y="3416782"/>
              <a:ext cx="1224224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20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426332E-EFAA-3449-98AB-B827467081BF}"/>
                </a:ext>
              </a:extLst>
            </p:cNvPr>
            <p:cNvGrpSpPr/>
            <p:nvPr/>
          </p:nvGrpSpPr>
          <p:grpSpPr>
            <a:xfrm>
              <a:off x="381069" y="4088738"/>
              <a:ext cx="3219027" cy="2482619"/>
              <a:chOff x="7064043" y="1796360"/>
              <a:chExt cx="3088469" cy="2400109"/>
            </a:xfrm>
          </p:grpSpPr>
          <p:pic>
            <p:nvPicPr>
              <p:cNvPr id="66" name="Content Placeholder 56">
                <a:extLst>
                  <a:ext uri="{FF2B5EF4-FFF2-40B4-BE49-F238E27FC236}">
                    <a16:creationId xmlns:a16="http://schemas.microsoft.com/office/drawing/2014/main" id="{3E390E02-9909-B9D7-78B1-66D8265C426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7064043" y="1796360"/>
                <a:ext cx="3088469" cy="2400107"/>
              </a:xfrm>
              <a:prstGeom prst="rect">
                <a:avLst/>
              </a:prstGeom>
            </p:spPr>
          </p:pic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39FA44AB-598C-DDBC-E430-BFA44DB969BF}"/>
                  </a:ext>
                </a:extLst>
              </p:cNvPr>
              <p:cNvSpPr/>
              <p:nvPr/>
            </p:nvSpPr>
            <p:spPr bwMode="gray">
              <a:xfrm rot="5400000" flipV="1">
                <a:off x="8191089" y="2235048"/>
                <a:ext cx="2400108" cy="1522734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0"/>
                    </a:schemeClr>
                  </a:gs>
                  <a:gs pos="60000">
                    <a:srgbClr val="000000">
                      <a:alpha val="8000"/>
                    </a:srgbClr>
                  </a:gs>
                  <a:gs pos="95000">
                    <a:schemeClr val="tx1">
                      <a:alpha val="32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3803CC5D-D121-3C7E-2F18-9541417D6B91}"/>
                  </a:ext>
                </a:extLst>
              </p:cNvPr>
              <p:cNvSpPr/>
              <p:nvPr/>
            </p:nvSpPr>
            <p:spPr bwMode="gray">
              <a:xfrm>
                <a:off x="7064043" y="3487521"/>
                <a:ext cx="3088468" cy="708946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0"/>
                    </a:schemeClr>
                  </a:gs>
                  <a:gs pos="60000">
                    <a:srgbClr val="000000">
                      <a:alpha val="8000"/>
                    </a:srgbClr>
                  </a:gs>
                  <a:gs pos="95000">
                    <a:schemeClr val="tx1">
                      <a:alpha val="32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6DC19059-0FCE-FD4D-56C5-316AD9BE3750}"/>
                </a:ext>
              </a:extLst>
            </p:cNvPr>
            <p:cNvSpPr txBox="1"/>
            <p:nvPr/>
          </p:nvSpPr>
          <p:spPr bwMode="gray">
            <a:xfrm rot="16200000">
              <a:off x="2265632" y="5061152"/>
              <a:ext cx="2261059" cy="35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UTILITIES</a:t>
              </a:r>
            </a:p>
          </p:txBody>
        </p:sp>
        <p:sp>
          <p:nvSpPr>
            <p:cNvPr id="70" name="Text Placeholder 2">
              <a:extLst>
                <a:ext uri="{FF2B5EF4-FFF2-40B4-BE49-F238E27FC236}">
                  <a16:creationId xmlns:a16="http://schemas.microsoft.com/office/drawing/2014/main" id="{85B34452-5E3D-C02B-373D-5CCE3906981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2413" y="6057689"/>
              <a:ext cx="1107840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15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pic>
          <p:nvPicPr>
            <p:cNvPr id="61" name="Content Placeholder 56">
              <a:extLst>
                <a:ext uri="{FF2B5EF4-FFF2-40B4-BE49-F238E27FC236}">
                  <a16:creationId xmlns:a16="http://schemas.microsoft.com/office/drawing/2014/main" id="{084F9777-2A5D-D716-BFD5-032300B716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69" y="1459998"/>
              <a:ext cx="6888331" cy="2482617"/>
            </a:xfrm>
            <a:prstGeom prst="rect">
              <a:avLst/>
            </a:prstGeom>
          </p:spPr>
        </p:pic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C4126856-615A-11B6-E36F-DD4FEC1AFCCE}"/>
                </a:ext>
              </a:extLst>
            </p:cNvPr>
            <p:cNvSpPr txBox="1"/>
            <p:nvPr/>
          </p:nvSpPr>
          <p:spPr bwMode="gray">
            <a:xfrm rot="16200000">
              <a:off x="5945125" y="2432413"/>
              <a:ext cx="2261059" cy="35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BUILDINGS</a:t>
              </a:r>
            </a:p>
          </p:txBody>
        </p:sp>
        <p:sp>
          <p:nvSpPr>
            <p:cNvPr id="72" name="Text Placeholder 2">
              <a:extLst>
                <a:ext uri="{FF2B5EF4-FFF2-40B4-BE49-F238E27FC236}">
                  <a16:creationId xmlns:a16="http://schemas.microsoft.com/office/drawing/2014/main" id="{D1572991-629E-33FD-0D91-FB63A65E208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14098" y="3422189"/>
              <a:ext cx="1013508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32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id="{7A7B955D-C681-7D71-4608-8005DD6F1233}"/>
                </a:ext>
              </a:extLst>
            </p:cNvPr>
            <p:cNvGrpSpPr/>
            <p:nvPr/>
          </p:nvGrpSpPr>
          <p:grpSpPr>
            <a:xfrm>
              <a:off x="6493959" y="4089018"/>
              <a:ext cx="1692261" cy="2487822"/>
              <a:chOff x="-2289" y="4314415"/>
              <a:chExt cx="1623626" cy="2405139"/>
            </a:xfrm>
          </p:grpSpPr>
          <p:pic>
            <p:nvPicPr>
              <p:cNvPr id="64" name="Content Placeholder 56">
                <a:extLst>
                  <a:ext uri="{FF2B5EF4-FFF2-40B4-BE49-F238E27FC236}">
                    <a16:creationId xmlns:a16="http://schemas.microsoft.com/office/drawing/2014/main" id="{6DE17AD1-9A88-9407-0EC4-30785D96EDD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-2287" y="4319446"/>
                <a:ext cx="1623624" cy="2400107"/>
              </a:xfrm>
              <a:prstGeom prst="rect">
                <a:avLst/>
              </a:prstGeom>
            </p:spPr>
          </p:pic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C8CA8C92-C600-A2A4-B7B5-F913A404C358}"/>
                  </a:ext>
                </a:extLst>
              </p:cNvPr>
              <p:cNvSpPr/>
              <p:nvPr/>
            </p:nvSpPr>
            <p:spPr bwMode="gray">
              <a:xfrm rot="16200000" flipH="1">
                <a:off x="-393047" y="4705173"/>
                <a:ext cx="2405139" cy="1623623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0"/>
                    </a:schemeClr>
                  </a:gs>
                  <a:gs pos="60000">
                    <a:srgbClr val="000000">
                      <a:alpha val="9000"/>
                    </a:srgbClr>
                  </a:gs>
                  <a:gs pos="95000">
                    <a:schemeClr val="tx1">
                      <a:alpha val="20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B32733C-9D1F-BF14-E722-B224AE97DCD4}"/>
                </a:ext>
              </a:extLst>
            </p:cNvPr>
            <p:cNvSpPr txBox="1"/>
            <p:nvPr/>
          </p:nvSpPr>
          <p:spPr bwMode="gray">
            <a:xfrm rot="16200000">
              <a:off x="6854249" y="5051456"/>
              <a:ext cx="2277742" cy="35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INFRASTRUCTURE</a:t>
              </a:r>
            </a:p>
          </p:txBody>
        </p:sp>
        <p:sp>
          <p:nvSpPr>
            <p:cNvPr id="75" name="Text Placeholder 2">
              <a:extLst>
                <a:ext uri="{FF2B5EF4-FFF2-40B4-BE49-F238E27FC236}">
                  <a16:creationId xmlns:a16="http://schemas.microsoft.com/office/drawing/2014/main" id="{5779117D-1A82-4224-9339-E006D0371BF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578435" y="6057689"/>
              <a:ext cx="894748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8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B200F496-56AB-5D5A-29D4-88DE9A38B2B1}"/>
                </a:ext>
              </a:extLst>
            </p:cNvPr>
            <p:cNvGrpSpPr/>
            <p:nvPr/>
          </p:nvGrpSpPr>
          <p:grpSpPr>
            <a:xfrm>
              <a:off x="3768800" y="4088738"/>
              <a:ext cx="2556455" cy="2482619"/>
              <a:chOff x="9739232" y="1796360"/>
              <a:chExt cx="2452770" cy="2400109"/>
            </a:xfrm>
          </p:grpSpPr>
          <p:pic>
            <p:nvPicPr>
              <p:cNvPr id="65" name="Content Placeholder 56">
                <a:extLst>
                  <a:ext uri="{FF2B5EF4-FFF2-40B4-BE49-F238E27FC236}">
                    <a16:creationId xmlns:a16="http://schemas.microsoft.com/office/drawing/2014/main" id="{8B250710-D952-A3FA-4A90-0A165EC53D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9739232" y="1796360"/>
                <a:ext cx="2452768" cy="2400107"/>
              </a:xfrm>
              <a:prstGeom prst="rect">
                <a:avLst/>
              </a:prstGeom>
            </p:spPr>
          </p:pic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B02A3123-D613-8713-3970-B324978B6340}"/>
                  </a:ext>
                </a:extLst>
              </p:cNvPr>
              <p:cNvSpPr/>
              <p:nvPr/>
            </p:nvSpPr>
            <p:spPr bwMode="gray">
              <a:xfrm rot="5400000" flipH="1" flipV="1">
                <a:off x="9947580" y="1952048"/>
                <a:ext cx="2400109" cy="2088734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0"/>
                    </a:schemeClr>
                  </a:gs>
                  <a:gs pos="60000">
                    <a:srgbClr val="000000">
                      <a:alpha val="8000"/>
                    </a:srgbClr>
                  </a:gs>
                  <a:gs pos="95000">
                    <a:schemeClr val="tx1">
                      <a:alpha val="32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</p:grp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F0D0E51-3A87-7CE6-59A4-977F6E516443}"/>
                </a:ext>
              </a:extLst>
            </p:cNvPr>
            <p:cNvSpPr txBox="1"/>
            <p:nvPr/>
          </p:nvSpPr>
          <p:spPr bwMode="gray">
            <a:xfrm rot="16200000">
              <a:off x="4998457" y="5039816"/>
              <a:ext cx="2255018" cy="35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DATA CENTERS</a:t>
              </a:r>
            </a:p>
          </p:txBody>
        </p:sp>
        <p:sp>
          <p:nvSpPr>
            <p:cNvPr id="59" name="Text Placeholder 2">
              <a:extLst>
                <a:ext uri="{FF2B5EF4-FFF2-40B4-BE49-F238E27FC236}">
                  <a16:creationId xmlns:a16="http://schemas.microsoft.com/office/drawing/2014/main" id="{83754001-B504-194D-0BFE-9D0FE9C289E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906712" y="6057689"/>
              <a:ext cx="1031911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12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F86C5DA1-39CC-E3C8-CDCB-AE41A24FE46A}"/>
                </a:ext>
              </a:extLst>
            </p:cNvPr>
            <p:cNvGrpSpPr/>
            <p:nvPr/>
          </p:nvGrpSpPr>
          <p:grpSpPr>
            <a:xfrm>
              <a:off x="8363632" y="4089018"/>
              <a:ext cx="1486797" cy="2487824"/>
              <a:chOff x="1661524" y="4314414"/>
              <a:chExt cx="1426495" cy="2405141"/>
            </a:xfrm>
          </p:grpSpPr>
          <p:pic>
            <p:nvPicPr>
              <p:cNvPr id="63" name="Content Placeholder 56">
                <a:extLst>
                  <a:ext uri="{FF2B5EF4-FFF2-40B4-BE49-F238E27FC236}">
                    <a16:creationId xmlns:a16="http://schemas.microsoft.com/office/drawing/2014/main" id="{162EB2A1-019F-C76A-651C-E0475D66549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61524" y="4319446"/>
                <a:ext cx="1426494" cy="2400107"/>
              </a:xfrm>
              <a:prstGeom prst="rect">
                <a:avLst/>
              </a:prstGeom>
            </p:spPr>
          </p:pic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2DFDFF67-F0AA-120C-7ECE-9C54BE379EF4}"/>
                  </a:ext>
                </a:extLst>
              </p:cNvPr>
              <p:cNvSpPr/>
              <p:nvPr/>
            </p:nvSpPr>
            <p:spPr bwMode="gray">
              <a:xfrm rot="16200000" flipH="1">
                <a:off x="1172201" y="4803737"/>
                <a:ext cx="2405141" cy="1426495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0"/>
                    </a:schemeClr>
                  </a:gs>
                  <a:gs pos="60000">
                    <a:srgbClr val="000000">
                      <a:alpha val="9000"/>
                    </a:srgbClr>
                  </a:gs>
                  <a:gs pos="95000">
                    <a:schemeClr val="tx1">
                      <a:alpha val="20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</p:grp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5C9D3B2-C6EF-3D83-A183-D3F12E8B5FDC}"/>
                </a:ext>
              </a:extLst>
            </p:cNvPr>
            <p:cNvSpPr txBox="1"/>
            <p:nvPr/>
          </p:nvSpPr>
          <p:spPr bwMode="gray">
            <a:xfrm rot="16200000">
              <a:off x="8388273" y="5206458"/>
              <a:ext cx="258306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8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OIL GAS + CHEMICALS</a:t>
              </a:r>
            </a:p>
          </p:txBody>
        </p:sp>
        <p:sp>
          <p:nvSpPr>
            <p:cNvPr id="78" name="Text Placeholder 2">
              <a:extLst>
                <a:ext uri="{FF2B5EF4-FFF2-40B4-BE49-F238E27FC236}">
                  <a16:creationId xmlns:a16="http://schemas.microsoft.com/office/drawing/2014/main" id="{1B88E24B-CB7D-DE21-DC56-F185F999DFA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472119" y="6057689"/>
              <a:ext cx="776714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7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sp>
          <p:nvSpPr>
            <p:cNvPr id="80" name="Text Placeholder 2">
              <a:extLst>
                <a:ext uri="{FF2B5EF4-FFF2-40B4-BE49-F238E27FC236}">
                  <a16:creationId xmlns:a16="http://schemas.microsoft.com/office/drawing/2014/main" id="{9817DEE7-6CD3-74EF-9ED1-2CCB8FDE41C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740208" y="6057689"/>
              <a:ext cx="954318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3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pic>
          <p:nvPicPr>
            <p:cNvPr id="67" name="Content Placeholder 56">
              <a:extLst>
                <a:ext uri="{FF2B5EF4-FFF2-40B4-BE49-F238E27FC236}">
                  <a16:creationId xmlns:a16="http://schemas.microsoft.com/office/drawing/2014/main" id="{75903F44-BAA0-435F-CB4E-CE9DBFEAFC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041379" y="4094222"/>
              <a:ext cx="848818" cy="2482617"/>
            </a:xfrm>
            <a:prstGeom prst="rect">
              <a:avLst/>
            </a:prstGeom>
          </p:spPr>
        </p:pic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B5F11A10-DACF-EBAE-98DD-13521954898A}"/>
                </a:ext>
              </a:extLst>
            </p:cNvPr>
            <p:cNvSpPr/>
            <p:nvPr/>
          </p:nvSpPr>
          <p:spPr bwMode="gray">
            <a:xfrm rot="16200000" flipH="1">
              <a:off x="9464640" y="5154667"/>
              <a:ext cx="1995537" cy="848817"/>
            </a:xfrm>
            <a:prstGeom prst="rect">
              <a:avLst/>
            </a:prstGeom>
            <a:gradFill>
              <a:gsLst>
                <a:gs pos="1724">
                  <a:schemeClr val="tx1">
                    <a:alpha val="0"/>
                  </a:schemeClr>
                </a:gs>
                <a:gs pos="60000">
                  <a:srgbClr val="000000">
                    <a:alpha val="9000"/>
                  </a:srgbClr>
                </a:gs>
                <a:gs pos="95000">
                  <a:schemeClr val="tx1">
                    <a:alpha val="20000"/>
                  </a:scheme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5363E87-4321-E70C-839E-7269E64E465B}"/>
                </a:ext>
              </a:extLst>
            </p:cNvPr>
            <p:cNvSpPr txBox="1"/>
            <p:nvPr/>
          </p:nvSpPr>
          <p:spPr bwMode="gray">
            <a:xfrm rot="16200000">
              <a:off x="9563315" y="5041568"/>
              <a:ext cx="226734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rgbClr val="FFFFFF"/>
                  </a:solidFill>
                  <a:latin typeface="ABBvoice"/>
                  <a:ea typeface="ABBvoice"/>
                  <a:cs typeface="ABBvoice"/>
                </a:rPr>
                <a:t>RENEWABLES</a:t>
              </a:r>
            </a:p>
          </p:txBody>
        </p:sp>
        <p:sp>
          <p:nvSpPr>
            <p:cNvPr id="84" name="Text Placeholder 2">
              <a:extLst>
                <a:ext uri="{FF2B5EF4-FFF2-40B4-BE49-F238E27FC236}">
                  <a16:creationId xmlns:a16="http://schemas.microsoft.com/office/drawing/2014/main" id="{09F70D59-D820-435B-C1EC-BA80C3A917E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093766" y="6057689"/>
              <a:ext cx="791219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4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E218B83A-1A64-8458-DEA5-D01643E6347B}"/>
                </a:ext>
              </a:extLst>
            </p:cNvPr>
            <p:cNvGrpSpPr/>
            <p:nvPr/>
          </p:nvGrpSpPr>
          <p:grpSpPr>
            <a:xfrm>
              <a:off x="11088022" y="4088739"/>
              <a:ext cx="614227" cy="2482618"/>
              <a:chOff x="3975641" y="4319446"/>
              <a:chExt cx="589315" cy="2400108"/>
            </a:xfrm>
          </p:grpSpPr>
          <p:pic>
            <p:nvPicPr>
              <p:cNvPr id="68" name="Content Placeholder 56">
                <a:extLst>
                  <a:ext uri="{FF2B5EF4-FFF2-40B4-BE49-F238E27FC236}">
                    <a16:creationId xmlns:a16="http://schemas.microsoft.com/office/drawing/2014/main" id="{BD2420A7-D98E-B20A-F332-8AC5C25676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75642" y="4319446"/>
                <a:ext cx="589314" cy="2400107"/>
              </a:xfrm>
              <a:prstGeom prst="rect">
                <a:avLst/>
              </a:prstGeom>
            </p:spPr>
          </p:pic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E61E75D3-CB0A-D7F4-B93F-2021574A7602}"/>
                  </a:ext>
                </a:extLst>
              </p:cNvPr>
              <p:cNvSpPr/>
              <p:nvPr/>
            </p:nvSpPr>
            <p:spPr bwMode="gray">
              <a:xfrm rot="5400000">
                <a:off x="3163307" y="5329847"/>
                <a:ext cx="2202041" cy="577373"/>
              </a:xfrm>
              <a:prstGeom prst="rect">
                <a:avLst/>
              </a:prstGeom>
              <a:gradFill>
                <a:gsLst>
                  <a:gs pos="1724">
                    <a:schemeClr val="tx1">
                      <a:alpha val="24000"/>
                    </a:schemeClr>
                  </a:gs>
                  <a:gs pos="60000">
                    <a:srgbClr val="000000">
                      <a:alpha val="9000"/>
                    </a:srgbClr>
                  </a:gs>
                  <a:gs pos="95000">
                    <a:schemeClr val="tx1">
                      <a:alpha val="20000"/>
                    </a:schemeClr>
                  </a:gs>
                </a:gsLst>
                <a:lin ang="5400000" scaled="0"/>
              </a:gra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spcBef>
                    <a:spcPts val="600"/>
                  </a:spcBef>
                </a:pPr>
                <a:endParaRPr lang="en-US" sz="2000" dirty="0"/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9935D377-EFA8-4AAA-1551-03662ACBD51E}"/>
                </a:ext>
              </a:extLst>
            </p:cNvPr>
            <p:cNvSpPr txBox="1"/>
            <p:nvPr/>
          </p:nvSpPr>
          <p:spPr bwMode="gray">
            <a:xfrm rot="16200000">
              <a:off x="10375418" y="5051176"/>
              <a:ext cx="2277742" cy="3528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b="1" spc="100" dirty="0">
                  <a:solidFill>
                    <a:schemeClr val="bg1"/>
                  </a:solidFill>
                  <a:latin typeface="ABBvoice"/>
                  <a:ea typeface="ABBvoice"/>
                  <a:cs typeface="ABBvoice"/>
                </a:rPr>
                <a:t>FOOD + BEVERAGE</a:t>
              </a:r>
            </a:p>
          </p:txBody>
        </p:sp>
        <p:sp>
          <p:nvSpPr>
            <p:cNvPr id="10" name="Text Placeholder 2">
              <a:extLst>
                <a:ext uri="{FF2B5EF4-FFF2-40B4-BE49-F238E27FC236}">
                  <a16:creationId xmlns:a16="http://schemas.microsoft.com/office/drawing/2014/main" id="{12B6FA9A-F37D-0ABB-6279-6C6910DCC54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058899" y="6057689"/>
              <a:ext cx="652673" cy="31841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4400" b="1" dirty="0">
                  <a:solidFill>
                    <a:schemeClr val="bg1"/>
                  </a:solidFill>
                </a:rPr>
                <a:t>3</a:t>
              </a:r>
              <a:r>
                <a:rPr lang="en-US" sz="2800" b="1" dirty="0">
                  <a:solidFill>
                    <a:schemeClr val="bg1"/>
                  </a:solidFill>
                </a:rPr>
                <a:t>%</a:t>
              </a:r>
            </a:p>
          </p:txBody>
        </p:sp>
      </p:grpSp>
      <p:sp>
        <p:nvSpPr>
          <p:cNvPr id="13" name="Title 35">
            <a:extLst>
              <a:ext uri="{FF2B5EF4-FFF2-40B4-BE49-F238E27FC236}">
                <a16:creationId xmlns:a16="http://schemas.microsoft.com/office/drawing/2014/main" id="{D4C5E97B-21BD-0C69-1D48-C689639B6310}"/>
              </a:ext>
            </a:extLst>
          </p:cNvPr>
          <p:cNvSpPr txBox="1">
            <a:spLocks/>
          </p:cNvSpPr>
          <p:nvPr/>
        </p:nvSpPr>
        <p:spPr bwMode="gray">
          <a:xfrm>
            <a:off x="3724790" y="6548134"/>
            <a:ext cx="7934142" cy="1268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1000" b="0">
                <a:solidFill>
                  <a:schemeClr val="accent1"/>
                </a:solidFill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  <a:t>Electrification Global segments </a:t>
            </a:r>
            <a:r>
              <a:rPr lang="en-US" sz="1000" b="0" dirty="0">
                <a:solidFill>
                  <a:schemeClr val="accent1"/>
                </a:solidFill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  <a:t>by percentage of 2023 orders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22F4B6EF-ED61-F4A2-6510-27F2B1803574}"/>
              </a:ext>
            </a:extLst>
          </p:cNvPr>
          <p:cNvSpPr txBox="1">
            <a:spLocks/>
          </p:cNvSpPr>
          <p:nvPr/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A6ABEA2-0880-F6BF-BB8E-0B48E389B363}"/>
              </a:ext>
            </a:extLst>
          </p:cNvPr>
          <p:cNvSpPr txBox="1">
            <a:spLocks/>
          </p:cNvSpPr>
          <p:nvPr/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57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DA5B153-0F2B-A5E7-EC93-4AA3838FD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Pioneering technology + innovation 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36DC78F-37CB-8DC8-B116-B4946AD085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208D8DD4-2BDE-561B-C671-F6DCB8D64806}"/>
              </a:ext>
            </a:extLst>
          </p:cNvPr>
          <p:cNvGrpSpPr/>
          <p:nvPr/>
        </p:nvGrpSpPr>
        <p:grpSpPr>
          <a:xfrm>
            <a:off x="8516378" y="545943"/>
            <a:ext cx="3494744" cy="621320"/>
            <a:chOff x="-829468" y="133675"/>
            <a:chExt cx="3494744" cy="621320"/>
          </a:xfrm>
        </p:grpSpPr>
        <p:sp>
          <p:nvSpPr>
            <p:cNvPr id="11" name="Text Placeholder 2">
              <a:extLst>
                <a:ext uri="{FF2B5EF4-FFF2-40B4-BE49-F238E27FC236}">
                  <a16:creationId xmlns:a16="http://schemas.microsoft.com/office/drawing/2014/main" id="{14A45A5B-0DE3-74AD-30B6-38C35AA8B30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-390347" y="293018"/>
              <a:ext cx="3055623" cy="33552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BBvoice"/>
                  <a:ea typeface="ABBvoice"/>
                  <a:cs typeface="ABBvoice"/>
                </a:rPr>
                <a:t>4200+</a:t>
              </a:r>
              <a:r>
                <a:rPr lang="en-US" sz="1800" dirty="0">
                  <a:solidFill>
                    <a:srgbClr val="000000"/>
                  </a:solidFill>
                  <a:latin typeface="ABBvoice"/>
                  <a:ea typeface="ABBvoice"/>
                  <a:cs typeface="ABBvoice"/>
                </a:rPr>
                <a:t> 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BBvoice Light"/>
                  <a:ea typeface="ABBvoice"/>
                  <a:cs typeface="ABBvoice"/>
                </a:rPr>
                <a:t>Patent families</a:t>
              </a:r>
            </a:p>
          </p:txBody>
        </p: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1A4240BE-4EF3-6D39-7F0A-77F781F56557}"/>
                </a:ext>
              </a:extLst>
            </p:cNvPr>
            <p:cNvGrpSpPr/>
            <p:nvPr/>
          </p:nvGrpSpPr>
          <p:grpSpPr>
            <a:xfrm>
              <a:off x="-829468" y="133675"/>
              <a:ext cx="621322" cy="621320"/>
              <a:chOff x="449305" y="3447108"/>
              <a:chExt cx="621322" cy="62132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4543E0D2-92ED-691D-9861-52A09D0B8693}"/>
                  </a:ext>
                </a:extLst>
              </p:cNvPr>
              <p:cNvSpPr/>
              <p:nvPr/>
            </p:nvSpPr>
            <p:spPr bwMode="gray">
              <a:xfrm>
                <a:off x="449305" y="3447108"/>
                <a:ext cx="621322" cy="621320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8" name="Graphic 27">
                <a:extLst>
                  <a:ext uri="{FF2B5EF4-FFF2-40B4-BE49-F238E27FC236}">
                    <a16:creationId xmlns:a16="http://schemas.microsoft.com/office/drawing/2014/main" id="{410C3B84-BA75-F757-45E8-673660C748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31366" y="3517808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4E4EB56-F402-6532-798C-91E3606B313A}"/>
              </a:ext>
            </a:extLst>
          </p:cNvPr>
          <p:cNvGrpSpPr/>
          <p:nvPr/>
        </p:nvGrpSpPr>
        <p:grpSpPr>
          <a:xfrm>
            <a:off x="294714" y="1482778"/>
            <a:ext cx="11683231" cy="4869185"/>
            <a:chOff x="294714" y="1632408"/>
            <a:chExt cx="11683231" cy="4869185"/>
          </a:xfrm>
        </p:grpSpPr>
        <p:sp>
          <p:nvSpPr>
            <p:cNvPr id="98" name="Content Placeholder 2">
              <a:extLst>
                <a:ext uri="{FF2B5EF4-FFF2-40B4-BE49-F238E27FC236}">
                  <a16:creationId xmlns:a16="http://schemas.microsoft.com/office/drawing/2014/main" id="{AA1E7494-CD1C-75C3-23AB-5C4B6C0E95AD}"/>
                </a:ext>
              </a:extLst>
            </p:cNvPr>
            <p:cNvSpPr txBox="1">
              <a:spLocks/>
            </p:cNvSpPr>
            <p:nvPr/>
          </p:nvSpPr>
          <p:spPr>
            <a:xfrm>
              <a:off x="7308291" y="1858962"/>
              <a:ext cx="1659400" cy="1897200"/>
            </a:xfrm>
            <a:prstGeom prst="rect">
              <a:avLst/>
            </a:prstGeom>
          </p:spPr>
          <p:txBody>
            <a:bodyPr lIns="91440" tIns="45720" rIns="91440" bIns="45720" anchor="t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>
                  <a:solidFill>
                    <a:srgbClr val="000000"/>
                  </a:solidFill>
                  <a:latin typeface="ABBvoice"/>
                  <a:ea typeface="ABBvoice" panose="020D0603020503020204" pitchFamily="34" charset="0"/>
                </a:rPr>
                <a:t>Service Assist</a:t>
              </a:r>
              <a:r>
                <a:rPr lang="en-US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 </a:t>
              </a:r>
              <a:br>
                <a:rPr lang="en-US" dirty="0">
                  <a:latin typeface="ABBvoice"/>
                  <a:ea typeface="ABBvoice" panose="020D0603020503020204" pitchFamily="34" charset="0"/>
                </a:rPr>
              </a:br>
              <a:r>
                <a:rPr lang="en-US">
                  <a:latin typeface="ABBvoice"/>
                  <a:ea typeface="ABBvoice" panose="020D0603020503020204" pitchFamily="34" charset="0"/>
                </a:rPr>
                <a:t>The world’s first</a:t>
              </a:r>
            </a:p>
            <a:p>
              <a:pPr>
                <a:spcBef>
                  <a:spcPts val="0"/>
                </a:spcBef>
              </a:pPr>
              <a:r>
                <a:rPr lang="en-US" dirty="0">
                  <a:latin typeface="ABBvoice"/>
                  <a:ea typeface="ABBvoice" panose="020D0603020503020204" pitchFamily="34" charset="0"/>
                </a:rPr>
                <a:t>Augmented Reality </a:t>
              </a:r>
              <a:r>
                <a:rPr lang="en-US">
                  <a:latin typeface="ABBvoice"/>
                  <a:ea typeface="ABBvoice" panose="020D0603020503020204" pitchFamily="34" charset="0"/>
                </a:rPr>
                <a:t>(AR) powered </a:t>
              </a:r>
              <a:r>
                <a:rPr lang="en-US" dirty="0">
                  <a:latin typeface="ABBvoice"/>
                  <a:ea typeface="ABBvoice" panose="020D0603020503020204" pitchFamily="34" charset="0"/>
                </a:rPr>
                <a:t>mobile application for safe remote servicing</a:t>
              </a:r>
              <a:endParaRPr lang="en-US" dirty="0"/>
            </a:p>
            <a:p>
              <a:pPr>
                <a:spcBef>
                  <a:spcPts val="0"/>
                </a:spcBef>
              </a:pPr>
              <a:endParaRPr lang="en-US" dirty="0"/>
            </a:p>
          </p:txBody>
        </p:sp>
        <p:sp>
          <p:nvSpPr>
            <p:cNvPr id="99" name="Content Placeholder 13">
              <a:extLst>
                <a:ext uri="{FF2B5EF4-FFF2-40B4-BE49-F238E27FC236}">
                  <a16:creationId xmlns:a16="http://schemas.microsoft.com/office/drawing/2014/main" id="{291727DE-7FEE-2D70-AF51-639C1A59E8AA}"/>
                </a:ext>
              </a:extLst>
            </p:cNvPr>
            <p:cNvSpPr txBox="1">
              <a:spLocks/>
            </p:cNvSpPr>
            <p:nvPr/>
          </p:nvSpPr>
          <p:spPr>
            <a:xfrm>
              <a:off x="10155814" y="4773112"/>
              <a:ext cx="1822131" cy="967784"/>
            </a:xfrm>
            <a:prstGeom prst="rect">
              <a:avLst/>
            </a:prstGeom>
          </p:spPr>
          <p:txBody>
            <a:bodyPr anchor="t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600" b="1" dirty="0">
                  <a:latin typeface="ABBvoice" panose="020D0603020503020204" pitchFamily="34" charset="0"/>
                  <a:ea typeface="ABBvoice" panose="020D0603020503020204" pitchFamily="34" charset="0"/>
                </a:rPr>
                <a:t>SACE Infinitus</a:t>
              </a:r>
              <a:r>
                <a:rPr lang="en-US" sz="1600" dirty="0">
                  <a:latin typeface="ABBvoice" panose="020D0603020503020204" pitchFamily="34" charset="0"/>
                  <a:ea typeface="ABBvoice" panose="020D0603020503020204" pitchFamily="34" charset="0"/>
                </a:rPr>
                <a:t> </a:t>
              </a:r>
              <a:br>
                <a:rPr lang="en-US" dirty="0">
                  <a:latin typeface="ABBvoice" panose="020D0603020503020204" pitchFamily="34" charset="0"/>
                  <a:ea typeface="ABBvoice" panose="020D0603020503020204" pitchFamily="34" charset="0"/>
                </a:rPr>
              </a:br>
              <a:r>
                <a:rPr lang="en-US" dirty="0">
                  <a:latin typeface="ABBvoice" panose="020D0603020503020204" pitchFamily="34" charset="0"/>
                  <a:ea typeface="ABBvoice" panose="020D0603020503020204" pitchFamily="34" charset="0"/>
                </a:rPr>
                <a:t>The world’s first DC solid-state circuit breaker</a:t>
              </a:r>
              <a:endParaRPr lang="en-US" dirty="0"/>
            </a:p>
          </p:txBody>
        </p:sp>
        <p:sp>
          <p:nvSpPr>
            <p:cNvPr id="100" name="Content Placeholder 17">
              <a:extLst>
                <a:ext uri="{FF2B5EF4-FFF2-40B4-BE49-F238E27FC236}">
                  <a16:creationId xmlns:a16="http://schemas.microsoft.com/office/drawing/2014/main" id="{375846DF-B8A5-F401-EF8F-02CE1F125F64}"/>
                </a:ext>
              </a:extLst>
            </p:cNvPr>
            <p:cNvSpPr txBox="1">
              <a:spLocks/>
            </p:cNvSpPr>
            <p:nvPr/>
          </p:nvSpPr>
          <p:spPr>
            <a:xfrm>
              <a:off x="5729976" y="4773112"/>
              <a:ext cx="2034468" cy="1352839"/>
            </a:xfrm>
            <a:prstGeom prst="rect">
              <a:avLst/>
            </a:prstGeom>
          </p:spPr>
          <p:txBody>
            <a:bodyPr lIns="91440" tIns="45720" rIns="91440" bIns="45720" anchor="t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600" b="1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HiPerGuard</a:t>
              </a:r>
              <a:r>
                <a:rPr lang="en-US" sz="1600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 </a:t>
              </a:r>
              <a:endParaRPr lang="en-US" sz="1600" dirty="0">
                <a:solidFill>
                  <a:srgbClr val="262626"/>
                </a:solidFill>
                <a:latin typeface="ABBvoice" panose="020D0603020503020204" pitchFamily="34" charset="0"/>
                <a:ea typeface="ABBvoice" panose="020D0603020503020204" pitchFamily="34" charset="0"/>
              </a:endParaRPr>
            </a:p>
            <a:p>
              <a:pPr>
                <a:spcBef>
                  <a:spcPts val="0"/>
                </a:spcBef>
              </a:pPr>
              <a:r>
                <a:rPr lang="en-US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ABB’s </a:t>
              </a:r>
              <a:br>
                <a:rPr lang="en-US" dirty="0">
                  <a:latin typeface="ABBvoice"/>
                  <a:ea typeface="ABBvoice" panose="020D0603020503020204" pitchFamily="34" charset="0"/>
                </a:rPr>
              </a:br>
              <a:r>
                <a:rPr lang="en-US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industry-first medium-voltage Uninterruptible </a:t>
              </a:r>
              <a:br>
                <a:rPr lang="en-US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</a:br>
              <a:r>
                <a:rPr lang="en-US" dirty="0">
                  <a:solidFill>
                    <a:srgbClr val="262626"/>
                  </a:solidFill>
                  <a:latin typeface="ABBvoice"/>
                  <a:ea typeface="ABBvoice" panose="020D0603020503020204" pitchFamily="34" charset="0"/>
                </a:rPr>
                <a:t>Power Supply </a:t>
              </a:r>
            </a:p>
          </p:txBody>
        </p:sp>
        <p:sp>
          <p:nvSpPr>
            <p:cNvPr id="101" name="Content Placeholder 19">
              <a:extLst>
                <a:ext uri="{FF2B5EF4-FFF2-40B4-BE49-F238E27FC236}">
                  <a16:creationId xmlns:a16="http://schemas.microsoft.com/office/drawing/2014/main" id="{454F6764-55AD-97B4-49AC-74C2EB2DF20B}"/>
                </a:ext>
              </a:extLst>
            </p:cNvPr>
            <p:cNvSpPr txBox="1">
              <a:spLocks/>
            </p:cNvSpPr>
            <p:nvPr/>
          </p:nvSpPr>
          <p:spPr>
            <a:xfrm>
              <a:off x="461772" y="4773112"/>
              <a:ext cx="2293897" cy="1517945"/>
            </a:xfrm>
            <a:prstGeom prst="rect">
              <a:avLst/>
            </a:prstGeom>
          </p:spPr>
          <p:txBody>
            <a:bodyPr lIns="91440" tIns="45720" rIns="91440" bIns="45720" anchor="t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US" sz="1600" b="1" dirty="0"/>
                <a:t>Harnessflex EVO</a:t>
              </a:r>
              <a:r>
                <a:rPr lang="en-US" sz="1600" b="1" baseline="30000" dirty="0">
                  <a:solidFill>
                    <a:srgbClr val="262626"/>
                  </a:solidFill>
                  <a:latin typeface="ABBvoice"/>
                </a:rPr>
                <a:t>™</a:t>
              </a:r>
              <a:r>
                <a:rPr lang="en-US" sz="1600" b="1" dirty="0"/>
                <a:t> </a:t>
              </a:r>
              <a:r>
                <a:rPr lang="en-US" sz="1600" b="1" dirty="0">
                  <a:solidFill>
                    <a:srgbClr val="262626"/>
                  </a:solidFill>
                  <a:latin typeface="ABBvoice"/>
                </a:rPr>
                <a:t>connector interfaces</a:t>
              </a:r>
              <a:br>
                <a:rPr lang="en-US" sz="1600" b="1" dirty="0">
                  <a:solidFill>
                    <a:srgbClr val="262626"/>
                  </a:solidFill>
                  <a:latin typeface="ABBvoice"/>
                </a:rPr>
              </a:br>
              <a:r>
                <a:rPr lang="en-US" dirty="0">
                  <a:solidFill>
                    <a:srgbClr val="262626"/>
                  </a:solidFill>
                  <a:latin typeface="ABBvoice"/>
                </a:rPr>
                <a:t>world’s first full-range </a:t>
              </a:r>
              <a:br>
                <a:rPr lang="en-US" dirty="0">
                  <a:solidFill>
                    <a:srgbClr val="262626"/>
                  </a:solidFill>
                  <a:latin typeface="ABBvoice"/>
                </a:rPr>
              </a:br>
              <a:r>
                <a:rPr lang="en-US" dirty="0">
                  <a:solidFill>
                    <a:srgbClr val="262626"/>
                  </a:solidFill>
                  <a:latin typeface="ABBvoice"/>
                </a:rPr>
                <a:t>of hinged high-voltage connector backshells </a:t>
              </a:r>
              <a:br>
                <a:rPr lang="en-US" dirty="0">
                  <a:solidFill>
                    <a:srgbClr val="262626"/>
                  </a:solidFill>
                  <a:latin typeface="ABBvoice"/>
                </a:rPr>
              </a:br>
              <a:r>
                <a:rPr lang="en-US" dirty="0">
                  <a:solidFill>
                    <a:srgbClr val="262626"/>
                  </a:solidFill>
                  <a:latin typeface="ABBvoice"/>
                </a:rPr>
                <a:t>for heavy-duty EVs</a:t>
              </a:r>
              <a:endParaRPr lang="en-US" sz="1600" b="1" dirty="0">
                <a:latin typeface="ABBvoice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02DEE120-7428-5814-D82B-AEB30D91AA31}"/>
                </a:ext>
              </a:extLst>
            </p:cNvPr>
            <p:cNvGrpSpPr/>
            <p:nvPr/>
          </p:nvGrpSpPr>
          <p:grpSpPr>
            <a:xfrm>
              <a:off x="7393605" y="4250019"/>
              <a:ext cx="2674299" cy="1884288"/>
              <a:chOff x="7352025" y="4435498"/>
              <a:chExt cx="2674299" cy="1884288"/>
            </a:xfrm>
          </p:grpSpPr>
          <p:pic>
            <p:nvPicPr>
              <p:cNvPr id="102" name="Content Placeholder 35">
                <a:extLst>
                  <a:ext uri="{FF2B5EF4-FFF2-40B4-BE49-F238E27FC236}">
                    <a16:creationId xmlns:a16="http://schemas.microsoft.com/office/drawing/2014/main" id="{A0C0E4D0-6480-40BB-103B-B85CCCE23A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352025" y="4435498"/>
                <a:ext cx="2278530" cy="1884288"/>
              </a:xfrm>
              <a:prstGeom prst="rect">
                <a:avLst/>
              </a:prstGeom>
            </p:spPr>
          </p:pic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E3B78BB2-BAEC-B5B8-58AE-9808B5EB1C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092762" y="4686319"/>
                <a:ext cx="933562" cy="1386877"/>
              </a:xfrm>
              <a:prstGeom prst="rect">
                <a:avLst/>
              </a:prstGeom>
            </p:spPr>
          </p:pic>
        </p:grpSp>
        <p:pic>
          <p:nvPicPr>
            <p:cNvPr id="105" name="Picture 4">
              <a:extLst>
                <a:ext uri="{FF2B5EF4-FFF2-40B4-BE49-F238E27FC236}">
                  <a16:creationId xmlns:a16="http://schemas.microsoft.com/office/drawing/2014/main" id="{996F8A68-4020-3784-FBBC-725048E1CAA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68962" y="1944519"/>
              <a:ext cx="1845733" cy="26710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EDF11A89-E4B9-7D6A-AFB0-F7D2171E89E4}"/>
                </a:ext>
              </a:extLst>
            </p:cNvPr>
            <p:cNvGrpSpPr/>
            <p:nvPr/>
          </p:nvGrpSpPr>
          <p:grpSpPr>
            <a:xfrm>
              <a:off x="2956998" y="4257937"/>
              <a:ext cx="2664444" cy="1876370"/>
              <a:chOff x="4103147" y="3905622"/>
              <a:chExt cx="2664444" cy="1876370"/>
            </a:xfrm>
          </p:grpSpPr>
          <p:pic>
            <p:nvPicPr>
              <p:cNvPr id="97" name="Picture 10" descr="Powering ­sustainability">
                <a:extLst>
                  <a:ext uri="{FF2B5EF4-FFF2-40B4-BE49-F238E27FC236}">
                    <a16:creationId xmlns:a16="http://schemas.microsoft.com/office/drawing/2014/main" id="{EFAB5B88-24F5-E197-5046-10DA755349A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H="1">
                <a:off x="4103147" y="3905622"/>
                <a:ext cx="2331909" cy="18763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7" name="Picture 8">
                <a:extLst>
                  <a:ext uri="{FF2B5EF4-FFF2-40B4-BE49-F238E27FC236}">
                    <a16:creationId xmlns:a16="http://schemas.microsoft.com/office/drawing/2014/main" id="{D618FC6A-6386-C1E5-2CE0-79C278EBA74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334610" y="4365305"/>
                <a:ext cx="1432981" cy="12400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" name="Content Placeholder 13">
              <a:extLst>
                <a:ext uri="{FF2B5EF4-FFF2-40B4-BE49-F238E27FC236}">
                  <a16:creationId xmlns:a16="http://schemas.microsoft.com/office/drawing/2014/main" id="{3ADAC566-E320-E4D6-A7B1-57A6743B2117}"/>
                </a:ext>
              </a:extLst>
            </p:cNvPr>
            <p:cNvSpPr txBox="1">
              <a:spLocks/>
            </p:cNvSpPr>
            <p:nvPr/>
          </p:nvSpPr>
          <p:spPr>
            <a:xfrm>
              <a:off x="2842902" y="1858822"/>
              <a:ext cx="1523586" cy="1897200"/>
            </a:xfrm>
            <a:prstGeom prst="rect">
              <a:avLst/>
            </a:prstGeom>
          </p:spPr>
          <p:txBody>
            <a:bodyPr lIns="91440" tIns="45720" rIns="91440" bIns="45720" anchor="t" anchorCtr="0"/>
            <a:lstStyle>
              <a:lvl1pPr marL="0" indent="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14400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00" indent="-180000" algn="l" defTabSz="914400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dirty="0">
                  <a:ea typeface="+mn-lt"/>
                  <a:cs typeface="+mn-lt"/>
                </a:rPr>
                <a:t>InSite system extensions </a:t>
              </a:r>
              <a:r>
                <a:rPr lang="en-US" dirty="0">
                  <a:latin typeface="ABBvoice"/>
                </a:rPr>
                <a:t>unlock more functions </a:t>
              </a:r>
              <a:br>
                <a:rPr lang="en-US" dirty="0">
                  <a:latin typeface="ABBvoice"/>
                </a:rPr>
              </a:br>
              <a:r>
                <a:rPr lang="en-US" dirty="0">
                  <a:latin typeface="ABBvoice"/>
                </a:rPr>
                <a:t>for scalable, flexible and smart energy management </a:t>
              </a:r>
              <a:br>
                <a:rPr lang="en-US" dirty="0">
                  <a:latin typeface="ABBvoice"/>
                </a:rPr>
              </a:br>
              <a:r>
                <a:rPr lang="en-US" dirty="0">
                  <a:latin typeface="ABBvoice"/>
                </a:rPr>
                <a:t>in buildings</a:t>
              </a:r>
            </a:p>
            <a:p>
              <a:endParaRPr lang="en-US" dirty="0">
                <a:latin typeface="ABBvoice"/>
              </a:endParaRPr>
            </a:p>
          </p:txBody>
        </p:sp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15B6A4B7-83E7-F36E-06B7-0E8D118AF0C0}"/>
                </a:ext>
              </a:extLst>
            </p:cNvPr>
            <p:cNvSpPr/>
            <p:nvPr/>
          </p:nvSpPr>
          <p:spPr bwMode="gray">
            <a:xfrm>
              <a:off x="332367" y="1680882"/>
              <a:ext cx="11520897" cy="4773706"/>
            </a:xfrm>
            <a:prstGeom prst="roundRect">
              <a:avLst>
                <a:gd name="adj" fmla="val 8398"/>
              </a:avLst>
            </a:prstGeom>
            <a:ln w="1270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B2C8346-5609-46ED-F20C-ACE086A8AB3E}"/>
                </a:ext>
              </a:extLst>
            </p:cNvPr>
            <p:cNvSpPr/>
            <p:nvPr/>
          </p:nvSpPr>
          <p:spPr bwMode="gray">
            <a:xfrm>
              <a:off x="294714" y="4915787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468863B-BF72-CBB1-DBFA-63F7CF094914}"/>
                </a:ext>
              </a:extLst>
            </p:cNvPr>
            <p:cNvSpPr/>
            <p:nvPr/>
          </p:nvSpPr>
          <p:spPr bwMode="gray">
            <a:xfrm>
              <a:off x="7416103" y="1632408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49432FA-7503-0A50-8228-ABB7A7672F02}"/>
                </a:ext>
              </a:extLst>
            </p:cNvPr>
            <p:cNvSpPr/>
            <p:nvPr/>
          </p:nvSpPr>
          <p:spPr bwMode="gray">
            <a:xfrm>
              <a:off x="2936978" y="1632408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2B52E72-ABA0-9E76-50B9-6E6CCAFA43D9}"/>
                </a:ext>
              </a:extLst>
            </p:cNvPr>
            <p:cNvSpPr/>
            <p:nvPr/>
          </p:nvSpPr>
          <p:spPr bwMode="gray">
            <a:xfrm>
              <a:off x="11812142" y="4915787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BBB68AA-B69A-5927-4EF0-B85242423E0D}"/>
                </a:ext>
              </a:extLst>
            </p:cNvPr>
            <p:cNvSpPr/>
            <p:nvPr/>
          </p:nvSpPr>
          <p:spPr bwMode="gray">
            <a:xfrm>
              <a:off x="5826941" y="6421335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81566B8-2B66-7972-4458-9796A3E548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30899" t="8843" r="645" b="8960"/>
            <a:stretch/>
          </p:blipFill>
          <p:spPr>
            <a:xfrm>
              <a:off x="4421417" y="1944519"/>
              <a:ext cx="2668800" cy="1802518"/>
            </a:xfrm>
            <a:prstGeom prst="rect">
              <a:avLst/>
            </a:prstGeom>
          </p:spPr>
        </p:pic>
      </p:grpSp>
      <p:pic>
        <p:nvPicPr>
          <p:cNvPr id="2" name="Picture 1" descr="A close-up of a person holding a phone&#10;&#10;Description automatically generated">
            <a:extLst>
              <a:ext uri="{FF2B5EF4-FFF2-40B4-BE49-F238E27FC236}">
                <a16:creationId xmlns:a16="http://schemas.microsoft.com/office/drawing/2014/main" id="{A244FA50-ACC7-7576-F312-6D3EFF6019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58695" y="1755731"/>
            <a:ext cx="2628900" cy="1847851"/>
          </a:xfrm>
          <a:prstGeom prst="rect">
            <a:avLst/>
          </a:prstGeom>
        </p:spPr>
      </p:pic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8B0CF491-EEA5-FF22-02E6-BC748D74ED3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56DFC32-6BEC-0AAE-A239-0357E9FC81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lvl9pPr>
              <a:defRPr sz="800"/>
            </a:lvl9pPr>
          </a:lstStyle>
          <a:p>
            <a:pPr lvl="8"/>
            <a:r>
              <a:rPr lang="en-US" dirty="0"/>
              <a:t> 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D77B4E42-B07E-C28A-6C2F-31CA9C626A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4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DA5B153-0F2B-A5E7-EC93-4AA3838FD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8637864" cy="396000"/>
          </a:xfrm>
        </p:spPr>
        <p:txBody>
          <a:bodyPr/>
          <a:lstStyle/>
          <a:p>
            <a:r>
              <a:rPr lang="en-US" sz="2800" kern="600" dirty="0">
                <a:effectLst/>
                <a:latin typeface="ABBvoice" panose="020D0603020503020204" pitchFamily="34" charset="0"/>
                <a:ea typeface="ABBvoice KR" panose="020B0600000101010101" pitchFamily="34" charset="-127"/>
              </a:rPr>
              <a:t>Collaborating to accelerate the energy transition</a:t>
            </a:r>
            <a:endParaRPr lang="en-US" sz="2000" b="0" dirty="0">
              <a:solidFill>
                <a:srgbClr val="000000"/>
              </a:solidFill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8A7B2EFC-4AF7-A96B-605D-2B4D6369E147}"/>
              </a:ext>
            </a:extLst>
          </p:cNvPr>
          <p:cNvSpPr/>
          <p:nvPr/>
        </p:nvSpPr>
        <p:spPr bwMode="gray">
          <a:xfrm>
            <a:off x="910031" y="2881745"/>
            <a:ext cx="10955393" cy="2412150"/>
          </a:xfrm>
          <a:prstGeom prst="roundRect">
            <a:avLst>
              <a:gd name="adj" fmla="val 8398"/>
            </a:avLst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pic>
        <p:nvPicPr>
          <p:cNvPr id="30" name="Content Placeholder 26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949650B-9AEC-4DE6-275D-ACA2236D9E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378134" y="4339721"/>
            <a:ext cx="2862122" cy="1909012"/>
          </a:xfrm>
          <a:prstGeom prst="rect">
            <a:avLst/>
          </a:prstGeom>
        </p:spPr>
      </p:pic>
      <p:pic>
        <p:nvPicPr>
          <p:cNvPr id="32" name="Content Placeholder 30">
            <a:extLst>
              <a:ext uri="{FF2B5EF4-FFF2-40B4-BE49-F238E27FC236}">
                <a16:creationId xmlns:a16="http://schemas.microsoft.com/office/drawing/2014/main" id="{E9B7E4E5-81B6-CD83-7B0C-343021FD39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8936" y="1923774"/>
            <a:ext cx="2862122" cy="1906640"/>
          </a:xfrm>
          <a:prstGeom prst="rect">
            <a:avLst/>
          </a:prstGeom>
        </p:spPr>
      </p:pic>
      <p:pic>
        <p:nvPicPr>
          <p:cNvPr id="34" name="Content Placeholder 37">
            <a:extLst>
              <a:ext uri="{FF2B5EF4-FFF2-40B4-BE49-F238E27FC236}">
                <a16:creationId xmlns:a16="http://schemas.microsoft.com/office/drawing/2014/main" id="{121FC929-D15E-F50E-D80D-2B6B4A641EA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8378134" y="1922753"/>
            <a:ext cx="2862122" cy="1908081"/>
          </a:xfrm>
          <a:prstGeom prst="rect">
            <a:avLst/>
          </a:prstGeom>
        </p:spPr>
      </p:pic>
      <p:pic>
        <p:nvPicPr>
          <p:cNvPr id="36" name="Content Placeholder 34">
            <a:extLst>
              <a:ext uri="{FF2B5EF4-FFF2-40B4-BE49-F238E27FC236}">
                <a16:creationId xmlns:a16="http://schemas.microsoft.com/office/drawing/2014/main" id="{1A1E4315-0B05-20CB-C12B-E29AD8E79C8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5138805" y="1922785"/>
            <a:ext cx="2862122" cy="1908081"/>
          </a:xfrm>
          <a:prstGeom prst="rect">
            <a:avLst/>
          </a:prstGeom>
        </p:spPr>
      </p:pic>
      <p:pic>
        <p:nvPicPr>
          <p:cNvPr id="37" name="Content Placeholder 32" descr="A group of people in a lab&#10;&#10;Description automatically generated">
            <a:extLst>
              <a:ext uri="{FF2B5EF4-FFF2-40B4-BE49-F238E27FC236}">
                <a16:creationId xmlns:a16="http://schemas.microsoft.com/office/drawing/2014/main" id="{8FA16EB4-B442-8967-4EF4-34E2CF400C0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36214" y="4339721"/>
            <a:ext cx="2862122" cy="1910133"/>
          </a:xfrm>
          <a:prstGeom prst="rect">
            <a:avLst/>
          </a:prstGeom>
        </p:spPr>
      </p:pic>
      <p:pic>
        <p:nvPicPr>
          <p:cNvPr id="39" name="Content Placeholder 28">
            <a:extLst>
              <a:ext uri="{FF2B5EF4-FFF2-40B4-BE49-F238E27FC236}">
                <a16:creationId xmlns:a16="http://schemas.microsoft.com/office/drawing/2014/main" id="{B5473D10-23F3-DE25-DA55-255AE8F55EEF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1988" y="4333976"/>
            <a:ext cx="2862122" cy="1908081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61A18051-03AB-83C0-BE8C-EDEC68BEAD33}"/>
              </a:ext>
            </a:extLst>
          </p:cNvPr>
          <p:cNvSpPr txBox="1"/>
          <p:nvPr/>
        </p:nvSpPr>
        <p:spPr bwMode="gray">
          <a:xfrm>
            <a:off x="5138805" y="3926913"/>
            <a:ext cx="2862122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Startup companie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5DEA3A7-0F3F-7C33-E7E4-E791E31A4F37}"/>
              </a:ext>
            </a:extLst>
          </p:cNvPr>
          <p:cNvSpPr txBox="1"/>
          <p:nvPr/>
        </p:nvSpPr>
        <p:spPr bwMode="gray">
          <a:xfrm>
            <a:off x="8373383" y="3926913"/>
            <a:ext cx="2862121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tech-focused businesses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4F49EEB-A563-C489-4184-FA394BEDCB77}"/>
              </a:ext>
            </a:extLst>
          </p:cNvPr>
          <p:cNvSpPr txBox="1"/>
          <p:nvPr/>
        </p:nvSpPr>
        <p:spPr bwMode="gray">
          <a:xfrm>
            <a:off x="1844908" y="3926913"/>
            <a:ext cx="2862122" cy="184666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customers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D4B23E4D-94E6-4475-1C71-5726DB642F1A}"/>
              </a:ext>
            </a:extLst>
          </p:cNvPr>
          <p:cNvSpPr/>
          <p:nvPr/>
        </p:nvSpPr>
        <p:spPr bwMode="gray">
          <a:xfrm>
            <a:off x="1806808" y="2829917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7303ECC-014D-B5D2-158A-8175BBF67030}"/>
              </a:ext>
            </a:extLst>
          </p:cNvPr>
          <p:cNvSpPr/>
          <p:nvPr/>
        </p:nvSpPr>
        <p:spPr bwMode="gray">
          <a:xfrm>
            <a:off x="5078658" y="2829917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D2AD4C84-6FA1-7E12-5FCB-F419989D16BF}"/>
              </a:ext>
            </a:extLst>
          </p:cNvPr>
          <p:cNvSpPr/>
          <p:nvPr/>
        </p:nvSpPr>
        <p:spPr bwMode="gray">
          <a:xfrm>
            <a:off x="8343127" y="2829917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29C51FE-28F5-EAB7-60B9-7F22771B50B8}"/>
              </a:ext>
            </a:extLst>
          </p:cNvPr>
          <p:cNvSpPr txBox="1"/>
          <p:nvPr/>
        </p:nvSpPr>
        <p:spPr bwMode="gray">
          <a:xfrm>
            <a:off x="1806807" y="6325493"/>
            <a:ext cx="2853429" cy="2270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UNIVERSITI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4BD55AE-AC1B-1FA2-4A13-8C0389F68189}"/>
              </a:ext>
            </a:extLst>
          </p:cNvPr>
          <p:cNvSpPr txBox="1"/>
          <p:nvPr/>
        </p:nvSpPr>
        <p:spPr bwMode="gray">
          <a:xfrm>
            <a:off x="5138805" y="6325493"/>
            <a:ext cx="2862120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CHANNEL PARTNER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D1ADCE-2205-5410-CEDD-33C8FD127B1B}"/>
              </a:ext>
            </a:extLst>
          </p:cNvPr>
          <p:cNvSpPr txBox="1"/>
          <p:nvPr/>
        </p:nvSpPr>
        <p:spPr bwMode="gray">
          <a:xfrm>
            <a:off x="8373383" y="6325493"/>
            <a:ext cx="2862121" cy="18466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all" spc="200" normalizeH="0" baseline="0">
                <a:ln>
                  <a:noFill/>
                </a:ln>
                <a:effectLst/>
                <a:uLnTx/>
                <a:uFillTx/>
                <a:latin typeface="ABBvoice"/>
                <a:ea typeface="ABBvoice"/>
                <a:cs typeface="ABBvoice"/>
              </a:defRPr>
            </a:lvl1pPr>
          </a:lstStyle>
          <a:p>
            <a:pPr algn="ctr"/>
            <a:r>
              <a:rPr lang="en-US" dirty="0"/>
              <a:t>SUPPLIERS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3E106DB3-DE7C-9472-F8C7-C77C16774745}"/>
              </a:ext>
            </a:extLst>
          </p:cNvPr>
          <p:cNvSpPr/>
          <p:nvPr/>
        </p:nvSpPr>
        <p:spPr bwMode="gray">
          <a:xfrm>
            <a:off x="1806808" y="5247816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8A4775D7-B7FA-E602-976B-ECFE1F8899C8}"/>
              </a:ext>
            </a:extLst>
          </p:cNvPr>
          <p:cNvSpPr/>
          <p:nvPr/>
        </p:nvSpPr>
        <p:spPr bwMode="gray">
          <a:xfrm>
            <a:off x="5080016" y="5247816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CAEFCEAB-9F89-BBD4-5A46-F05155B0F3A4}"/>
              </a:ext>
            </a:extLst>
          </p:cNvPr>
          <p:cNvSpPr/>
          <p:nvPr/>
        </p:nvSpPr>
        <p:spPr bwMode="gray">
          <a:xfrm>
            <a:off x="8319256" y="5247816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36DC78F-37CB-8DC8-B116-B4946AD0856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66898" y="1120928"/>
            <a:ext cx="11925101" cy="50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latin typeface="ABBvoice Light"/>
              </a:rPr>
              <a:t> </a:t>
            </a:r>
            <a:r>
              <a:rPr lang="en-US" b="0" dirty="0">
                <a:solidFill>
                  <a:srgbClr val="000000"/>
                </a:solidFill>
                <a:latin typeface="ABBvoice Light"/>
              </a:rPr>
              <a:t>Partnering to help customers optimize, decarbonize and electrify their operations</a:t>
            </a:r>
            <a:br>
              <a:rPr lang="en-US" dirty="0">
                <a:solidFill>
                  <a:srgbClr val="000000"/>
                </a:solidFill>
                <a:latin typeface="ABBvoice Light"/>
              </a:rPr>
            </a:br>
            <a:endParaRPr lang="en-US" dirty="0">
              <a:latin typeface="ABBvoice Light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2577C51-EBED-0D82-6310-8B2A6C88EE0B}"/>
              </a:ext>
            </a:extLst>
          </p:cNvPr>
          <p:cNvSpPr/>
          <p:nvPr/>
        </p:nvSpPr>
        <p:spPr bwMode="gray">
          <a:xfrm>
            <a:off x="326576" y="3498789"/>
            <a:ext cx="1178064" cy="117806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  <a:prstDash val="sysDot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3" name="Picture 3">
            <a:extLst>
              <a:ext uri="{FF2B5EF4-FFF2-40B4-BE49-F238E27FC236}">
                <a16:creationId xmlns:a16="http://schemas.microsoft.com/office/drawing/2014/main" id="{0A47AD5E-D1BF-9C0B-E98B-BD5CD388B39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32824" y="3940938"/>
            <a:ext cx="765568" cy="293765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ECC9429D-2B11-3435-6C0F-533D553263B3}"/>
              </a:ext>
            </a:extLst>
          </p:cNvPr>
          <p:cNvSpPr/>
          <p:nvPr/>
        </p:nvSpPr>
        <p:spPr bwMode="gray">
          <a:xfrm>
            <a:off x="11205250" y="2829917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14FC491-C7A4-E4C5-6221-0F935E3DF680}"/>
              </a:ext>
            </a:extLst>
          </p:cNvPr>
          <p:cNvSpPr/>
          <p:nvPr/>
        </p:nvSpPr>
        <p:spPr bwMode="gray">
          <a:xfrm>
            <a:off x="11181378" y="5242204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4" name="Date Placeholder 2">
            <a:extLst>
              <a:ext uri="{FF2B5EF4-FFF2-40B4-BE49-F238E27FC236}">
                <a16:creationId xmlns:a16="http://schemas.microsoft.com/office/drawing/2014/main" id="{9A389D7B-560C-395F-014C-CB83D15668EC}"/>
              </a:ext>
            </a:extLst>
          </p:cNvPr>
          <p:cNvSpPr txBox="1">
            <a:spLocks/>
          </p:cNvSpPr>
          <p:nvPr/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351C86-AD2E-F634-C3C2-05157C8FABFD}"/>
              </a:ext>
            </a:extLst>
          </p:cNvPr>
          <p:cNvSpPr txBox="1">
            <a:spLocks/>
          </p:cNvSpPr>
          <p:nvPr/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8"/>
            <a:r>
              <a:rPr lang="en-US"/>
              <a:t> 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FBFED2-B941-8518-14A7-CFEE8774FF81}"/>
              </a:ext>
            </a:extLst>
          </p:cNvPr>
          <p:cNvSpPr txBox="1">
            <a:spLocks/>
          </p:cNvSpPr>
          <p:nvPr/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583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Placeholder 20">
            <a:extLst>
              <a:ext uri="{FF2B5EF4-FFF2-40B4-BE49-F238E27FC236}">
                <a16:creationId xmlns:a16="http://schemas.microsoft.com/office/drawing/2014/main" id="{A22C94F7-E75B-7A9B-B678-CCE83E5857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43" r="28229"/>
          <a:stretch/>
        </p:blipFill>
        <p:spPr>
          <a:xfrm>
            <a:off x="6883822" y="3916357"/>
            <a:ext cx="2599264" cy="2948022"/>
          </a:xfrm>
          <a:prstGeom prst="rect">
            <a:avLst/>
          </a:prstGeom>
        </p:spPr>
      </p:pic>
      <p:pic>
        <p:nvPicPr>
          <p:cNvPr id="23" name="Picture Placeholder 34">
            <a:extLst>
              <a:ext uri="{FF2B5EF4-FFF2-40B4-BE49-F238E27FC236}">
                <a16:creationId xmlns:a16="http://schemas.microsoft.com/office/drawing/2014/main" id="{D8A25085-A23C-BBE4-A66E-D1320758C8B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248" r="30799" b="16485"/>
          <a:stretch/>
        </p:blipFill>
        <p:spPr>
          <a:xfrm>
            <a:off x="4078078" y="4580518"/>
            <a:ext cx="2732102" cy="2283861"/>
          </a:xfrm>
          <a:prstGeom prst="rect">
            <a:avLst/>
          </a:prstGeom>
        </p:spPr>
      </p:pic>
      <p:pic>
        <p:nvPicPr>
          <p:cNvPr id="22" name="Picture Placeholder 16">
            <a:extLst>
              <a:ext uri="{FF2B5EF4-FFF2-40B4-BE49-F238E27FC236}">
                <a16:creationId xmlns:a16="http://schemas.microsoft.com/office/drawing/2014/main" id="{D2833914-4265-F108-1BD4-9ABA5EE82C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427" r="46930"/>
          <a:stretch/>
        </p:blipFill>
        <p:spPr>
          <a:xfrm>
            <a:off x="9529276" y="3911489"/>
            <a:ext cx="2662724" cy="2957512"/>
          </a:xfrm>
          <a:prstGeom prst="rect">
            <a:avLst/>
          </a:prstGeom>
        </p:spPr>
      </p:pic>
      <p:pic>
        <p:nvPicPr>
          <p:cNvPr id="1034" name="Picture 10" descr="McMaster Admission Dates &amp; Deadlines - GrantMe">
            <a:extLst>
              <a:ext uri="{FF2B5EF4-FFF2-40B4-BE49-F238E27FC236}">
                <a16:creationId xmlns:a16="http://schemas.microsoft.com/office/drawing/2014/main" id="{A96B4DFA-CE3E-12C9-6091-AB1ACDE85D0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8" r="11464"/>
          <a:stretch/>
        </p:blipFill>
        <p:spPr bwMode="auto">
          <a:xfrm>
            <a:off x="9538169" y="2231638"/>
            <a:ext cx="2653832" cy="1610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mployees decoration">
            <a:extLst>
              <a:ext uri="{FF2B5EF4-FFF2-40B4-BE49-F238E27FC236}">
                <a16:creationId xmlns:a16="http://schemas.microsoft.com/office/drawing/2014/main" id="{782A5502-3ABA-CDD3-7DBB-9B83FC88390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450"/>
          <a:stretch/>
        </p:blipFill>
        <p:spPr bwMode="auto">
          <a:xfrm>
            <a:off x="0" y="4581694"/>
            <a:ext cx="3999053" cy="2276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People walking past a train&#10;&#10;Description automatically generated">
            <a:extLst>
              <a:ext uri="{FF2B5EF4-FFF2-40B4-BE49-F238E27FC236}">
                <a16:creationId xmlns:a16="http://schemas.microsoft.com/office/drawing/2014/main" id="{BE82742C-2579-27B7-5B82-5D4B06153C8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854"/>
          <a:stretch/>
        </p:blipFill>
        <p:spPr>
          <a:xfrm>
            <a:off x="6870910" y="2238129"/>
            <a:ext cx="2617898" cy="1604197"/>
          </a:xfrm>
          <a:prstGeom prst="rect">
            <a:avLst/>
          </a:prstGeom>
        </p:spPr>
      </p:pic>
      <p:pic>
        <p:nvPicPr>
          <p:cNvPr id="3" name="Picture 2" descr="A bridge with cars on it&#10;&#10;Description automatically generated">
            <a:extLst>
              <a:ext uri="{FF2B5EF4-FFF2-40B4-BE49-F238E27FC236}">
                <a16:creationId xmlns:a16="http://schemas.microsoft.com/office/drawing/2014/main" id="{EAC8FD35-3DE6-F846-C54A-FA516F01162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152" r="12838"/>
          <a:stretch/>
        </p:blipFill>
        <p:spPr>
          <a:xfrm>
            <a:off x="-6724" y="2238129"/>
            <a:ext cx="3220724" cy="2264273"/>
          </a:xfrm>
          <a:prstGeom prst="rect">
            <a:avLst/>
          </a:prstGeom>
        </p:spPr>
      </p:pic>
      <p:sp>
        <p:nvSpPr>
          <p:cNvPr id="9" name="Subtitle 8">
            <a:extLst>
              <a:ext uri="{FF2B5EF4-FFF2-40B4-BE49-F238E27FC236}">
                <a16:creationId xmlns:a16="http://schemas.microsoft.com/office/drawing/2014/main" id="{636DC78F-37CB-8DC8-B116-B4946AD085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DA5B153-0F2B-A5E7-EC93-4AA3838FD6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olutions with impact across </a:t>
            </a:r>
            <a:r>
              <a:rPr lang="en-US" dirty="0"/>
              <a:t>Canada</a:t>
            </a:r>
            <a:endParaRPr lang="en-US" sz="2800" dirty="0"/>
          </a:p>
        </p:txBody>
      </p:sp>
      <p:sp>
        <p:nvSpPr>
          <p:cNvPr id="29" name="Subtitle 8">
            <a:extLst>
              <a:ext uri="{FF2B5EF4-FFF2-40B4-BE49-F238E27FC236}">
                <a16:creationId xmlns:a16="http://schemas.microsoft.com/office/drawing/2014/main" id="{9A85B7BA-6182-8145-570B-3C0BBF99AD1F}"/>
              </a:ext>
            </a:extLst>
          </p:cNvPr>
          <p:cNvSpPr txBox="1">
            <a:spLocks/>
          </p:cNvSpPr>
          <p:nvPr/>
        </p:nvSpPr>
        <p:spPr bwMode="gray">
          <a:xfrm>
            <a:off x="333263" y="1144954"/>
            <a:ext cx="10267397" cy="5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ABB Electrification’s products and solutions are found from coast to coast 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CB33EFD-9915-83FE-CB84-3463EA6C412B}"/>
              </a:ext>
            </a:extLst>
          </p:cNvPr>
          <p:cNvGrpSpPr/>
          <p:nvPr/>
        </p:nvGrpSpPr>
        <p:grpSpPr>
          <a:xfrm>
            <a:off x="3307078" y="2232133"/>
            <a:ext cx="3509647" cy="2264272"/>
            <a:chOff x="3287712" y="2708840"/>
            <a:chExt cx="3529013" cy="1929820"/>
          </a:xfrm>
        </p:grpSpPr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12A1EE6F-61B8-87F8-5B0B-DB4FA7622D6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87712" y="2708840"/>
              <a:ext cx="3529013" cy="1929820"/>
            </a:xfrm>
            <a:prstGeom prst="rect">
              <a:avLst/>
            </a:prstGeom>
          </p:spPr>
        </p:pic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DBEF663-06B5-ECC3-A6DB-86553D1BB7B4}"/>
                </a:ext>
              </a:extLst>
            </p:cNvPr>
            <p:cNvSpPr/>
            <p:nvPr/>
          </p:nvSpPr>
          <p:spPr bwMode="gray">
            <a:xfrm>
              <a:off x="3287712" y="3899111"/>
              <a:ext cx="3528000" cy="739549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76000"/>
                    <a:alpha val="0"/>
                  </a:schemeClr>
                </a:gs>
                <a:gs pos="100000">
                  <a:schemeClr val="tx1">
                    <a:alpha val="64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</p:grpSp>
      <p:sp>
        <p:nvSpPr>
          <p:cNvPr id="56" name="Text Placeholder 1">
            <a:extLst>
              <a:ext uri="{FF2B5EF4-FFF2-40B4-BE49-F238E27FC236}">
                <a16:creationId xmlns:a16="http://schemas.microsoft.com/office/drawing/2014/main" id="{75CA66FA-B939-69FB-855C-CC6696A48FC2}"/>
              </a:ext>
            </a:extLst>
          </p:cNvPr>
          <p:cNvSpPr txBox="1">
            <a:spLocks/>
          </p:cNvSpPr>
          <p:nvPr/>
        </p:nvSpPr>
        <p:spPr bwMode="gray">
          <a:xfrm>
            <a:off x="7464425" y="4751992"/>
            <a:ext cx="3752137" cy="123110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57" name="Text Placeholder 1">
            <a:extLst>
              <a:ext uri="{FF2B5EF4-FFF2-40B4-BE49-F238E27FC236}">
                <a16:creationId xmlns:a16="http://schemas.microsoft.com/office/drawing/2014/main" id="{FFA971FA-8222-59D4-6682-9780E63F9EF9}"/>
              </a:ext>
            </a:extLst>
          </p:cNvPr>
          <p:cNvSpPr txBox="1">
            <a:spLocks/>
          </p:cNvSpPr>
          <p:nvPr/>
        </p:nvSpPr>
        <p:spPr bwMode="gray">
          <a:xfrm>
            <a:off x="6815713" y="4152073"/>
            <a:ext cx="2609529" cy="83427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 </a:t>
            </a:r>
            <a:b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</a:b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POWERING HURONTARIO LIGHTRAIL IN A SAFE AND RELIABLE WAY</a:t>
            </a:r>
            <a:b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</a:br>
            <a:r>
              <a:rPr lang="en-US" sz="1200" spc="100" dirty="0">
                <a:solidFill>
                  <a:srgbClr val="FFFFFF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Toronto</a:t>
            </a:r>
            <a:endParaRPr kumimoji="0" lang="en-US" sz="12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58" name="Text Placeholder 1">
            <a:extLst>
              <a:ext uri="{FF2B5EF4-FFF2-40B4-BE49-F238E27FC236}">
                <a16:creationId xmlns:a16="http://schemas.microsoft.com/office/drawing/2014/main" id="{5B51F524-F468-EEBA-A814-87A3B9FC5664}"/>
              </a:ext>
            </a:extLst>
          </p:cNvPr>
          <p:cNvSpPr txBox="1">
            <a:spLocks/>
          </p:cNvSpPr>
          <p:nvPr/>
        </p:nvSpPr>
        <p:spPr bwMode="gray">
          <a:xfrm>
            <a:off x="9568238" y="5743730"/>
            <a:ext cx="2494799" cy="93742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CHARGING SOLUTIONS FOR LION ELECTRIC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Quebec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59" name="Text Placeholder 1">
            <a:extLst>
              <a:ext uri="{FF2B5EF4-FFF2-40B4-BE49-F238E27FC236}">
                <a16:creationId xmlns:a16="http://schemas.microsoft.com/office/drawing/2014/main" id="{AE6E85AF-4F1D-53AC-B456-AE4A702E96BB}"/>
              </a:ext>
            </a:extLst>
          </p:cNvPr>
          <p:cNvSpPr txBox="1">
            <a:spLocks/>
          </p:cNvSpPr>
          <p:nvPr/>
        </p:nvSpPr>
        <p:spPr bwMode="gray">
          <a:xfrm>
            <a:off x="-63308" y="3386773"/>
            <a:ext cx="3142800" cy="937420"/>
          </a:xfrm>
          <a:prstGeom prst="rect">
            <a:avLst/>
          </a:prstGeom>
        </p:spPr>
        <p:txBody>
          <a:bodyPr vert="horz" lIns="396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ENGINEERING INGENUITY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REM, Montreal</a:t>
            </a:r>
          </a:p>
        </p:txBody>
      </p:sp>
      <p:sp>
        <p:nvSpPr>
          <p:cNvPr id="60" name="Text Placeholder 1">
            <a:extLst>
              <a:ext uri="{FF2B5EF4-FFF2-40B4-BE49-F238E27FC236}">
                <a16:creationId xmlns:a16="http://schemas.microsoft.com/office/drawing/2014/main" id="{CF982FEC-556A-4500-466F-3AF670976E4C}"/>
              </a:ext>
            </a:extLst>
          </p:cNvPr>
          <p:cNvSpPr txBox="1">
            <a:spLocks/>
          </p:cNvSpPr>
          <p:nvPr/>
        </p:nvSpPr>
        <p:spPr bwMode="gray">
          <a:xfrm>
            <a:off x="3332136" y="3373743"/>
            <a:ext cx="3483577" cy="93742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EFFICIENT FERRIES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aid of the </a:t>
            </a:r>
            <a:r>
              <a:rPr lang="en-US" sz="1200" dirty="0">
                <a:solidFill>
                  <a:srgbClr val="FFFFFF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is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, Niagara falls</a:t>
            </a:r>
            <a:endParaRPr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61" name="Text Placeholder 1">
            <a:extLst>
              <a:ext uri="{FF2B5EF4-FFF2-40B4-BE49-F238E27FC236}">
                <a16:creationId xmlns:a16="http://schemas.microsoft.com/office/drawing/2014/main" id="{32A3445B-E181-89C4-BE67-D369BC982D7F}"/>
              </a:ext>
            </a:extLst>
          </p:cNvPr>
          <p:cNvSpPr txBox="1">
            <a:spLocks/>
          </p:cNvSpPr>
          <p:nvPr/>
        </p:nvSpPr>
        <p:spPr bwMode="gray">
          <a:xfrm>
            <a:off x="6808791" y="2847170"/>
            <a:ext cx="2742136" cy="93742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CONNECTING CITIES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rgbClr val="FFFFFF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Ontario L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, Toronto</a:t>
            </a:r>
          </a:p>
        </p:txBody>
      </p:sp>
      <p:sp>
        <p:nvSpPr>
          <p:cNvPr id="62" name="Text Placeholder 1">
            <a:extLst>
              <a:ext uri="{FF2B5EF4-FFF2-40B4-BE49-F238E27FC236}">
                <a16:creationId xmlns:a16="http://schemas.microsoft.com/office/drawing/2014/main" id="{0551F932-8C0D-841D-9AFE-036265942964}"/>
              </a:ext>
            </a:extLst>
          </p:cNvPr>
          <p:cNvSpPr txBox="1">
            <a:spLocks/>
          </p:cNvSpPr>
          <p:nvPr/>
        </p:nvSpPr>
        <p:spPr bwMode="gray">
          <a:xfrm>
            <a:off x="9403661" y="2936940"/>
            <a:ext cx="2672082" cy="93742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spc="100" dirty="0">
                <a:solidFill>
                  <a:schemeClr val="bg1"/>
                </a:solidFill>
                <a:latin typeface="ABBvoice"/>
                <a:ea typeface="ABBvoice"/>
                <a:cs typeface="ABBvoice"/>
              </a:rPr>
              <a:t>UPGRADING LEGACY INFRASTRUCTURES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-2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cMaster University, Hamilton</a:t>
            </a:r>
          </a:p>
        </p:txBody>
      </p:sp>
      <p:sp>
        <p:nvSpPr>
          <p:cNvPr id="64" name="Text Placeholder 1">
            <a:extLst>
              <a:ext uri="{FF2B5EF4-FFF2-40B4-BE49-F238E27FC236}">
                <a16:creationId xmlns:a16="http://schemas.microsoft.com/office/drawing/2014/main" id="{AE1EB875-B940-F0E2-4FF7-9850BC98C35D}"/>
              </a:ext>
            </a:extLst>
          </p:cNvPr>
          <p:cNvSpPr txBox="1">
            <a:spLocks/>
          </p:cNvSpPr>
          <p:nvPr/>
        </p:nvSpPr>
        <p:spPr bwMode="gray">
          <a:xfrm>
            <a:off x="3975604" y="4563534"/>
            <a:ext cx="2736000" cy="937420"/>
          </a:xfrm>
          <a:prstGeom prst="rect">
            <a:avLst/>
          </a:prstGeom>
        </p:spPr>
        <p:txBody>
          <a:bodyPr vert="horz" lIns="198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spc="100" dirty="0">
                <a:solidFill>
                  <a:srgbClr val="FFFFFF"/>
                </a:solidFill>
                <a:latin typeface="ABBvoice"/>
                <a:ea typeface="ABBvoice"/>
                <a:cs typeface="ABBvoice"/>
              </a:rPr>
              <a:t>CHARGING OF THE WORLD’S FISRT ELECTRIC SNOWMOBILES</a:t>
            </a:r>
          </a:p>
          <a:p>
            <a:pPr marL="0" marR="0" lvl="0" indent="0" algn="l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Quebec</a:t>
            </a:r>
          </a:p>
        </p:txBody>
      </p:sp>
      <p:sp>
        <p:nvSpPr>
          <p:cNvPr id="63" name="Text Placeholder 1">
            <a:extLst>
              <a:ext uri="{FF2B5EF4-FFF2-40B4-BE49-F238E27FC236}">
                <a16:creationId xmlns:a16="http://schemas.microsoft.com/office/drawing/2014/main" id="{36765938-16D2-8DB2-1A29-2D173F9098DB}"/>
              </a:ext>
            </a:extLst>
          </p:cNvPr>
          <p:cNvSpPr txBox="1">
            <a:spLocks/>
          </p:cNvSpPr>
          <p:nvPr/>
        </p:nvSpPr>
        <p:spPr bwMode="gray">
          <a:xfrm>
            <a:off x="1669943" y="4403485"/>
            <a:ext cx="2282566" cy="937420"/>
          </a:xfrm>
          <a:prstGeom prst="rect">
            <a:avLst/>
          </a:prstGeom>
        </p:spPr>
        <p:txBody>
          <a:bodyPr vert="horz" lIns="396000" tIns="0" rIns="0" bIns="108000" rtlCol="0" anchor="b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spc="100" dirty="0">
                <a:solidFill>
                  <a:schemeClr val="bg1"/>
                </a:solidFill>
                <a:latin typeface="ABBvoice"/>
                <a:ea typeface="ABBvoice"/>
                <a:cs typeface="ABBvoice"/>
              </a:rPr>
              <a:t>ELECTRIC BUS CHARGING STATION</a:t>
            </a:r>
          </a:p>
          <a:p>
            <a:pPr marL="0" marR="0" lvl="0" indent="0" algn="r" defTabSz="9144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Brampt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4546000-FD20-1B77-79E7-55C810841541}"/>
              </a:ext>
            </a:extLst>
          </p:cNvPr>
          <p:cNvSpPr txBox="1">
            <a:spLocks/>
          </p:cNvSpPr>
          <p:nvPr/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02F1124-33BD-4EBB-98B3-2BE08BF7D732}" type="datetime4">
              <a:rPr lang="en-US" smtClean="0">
                <a:solidFill>
                  <a:schemeClr val="bg1"/>
                </a:solidFill>
              </a:rPr>
              <a:pPr/>
              <a:t>April 29, 2024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17F7164-FDDA-8E73-01A7-E6625886A6FE}"/>
              </a:ext>
            </a:extLst>
          </p:cNvPr>
          <p:cNvSpPr txBox="1">
            <a:spLocks/>
          </p:cNvSpPr>
          <p:nvPr/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8"/>
            <a:r>
              <a:rPr lang="en-US"/>
              <a:t> 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37AA204-E85F-6D82-1458-E9D50A050161}"/>
              </a:ext>
            </a:extLst>
          </p:cNvPr>
          <p:cNvSpPr txBox="1">
            <a:spLocks/>
          </p:cNvSpPr>
          <p:nvPr/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chemeClr val="bg1"/>
                </a:solidFill>
              </a:rPr>
              <a:pPr/>
              <a:t>17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653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9B75C50E-BC02-53A4-2701-0F46BAA26C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852"/>
          <a:stretch/>
        </p:blipFill>
        <p:spPr>
          <a:xfrm flipH="1">
            <a:off x="961293" y="-4787"/>
            <a:ext cx="11252461" cy="692523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B97C203-25F5-B937-80D9-322CB5406BD5}"/>
              </a:ext>
            </a:extLst>
          </p:cNvPr>
          <p:cNvSpPr/>
          <p:nvPr/>
        </p:nvSpPr>
        <p:spPr bwMode="gray">
          <a:xfrm>
            <a:off x="0" y="0"/>
            <a:ext cx="4554731" cy="68647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636DC78F-37CB-8DC8-B116-B4946AD08565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14448A35-3037-FD19-C04C-6248602BCA38}"/>
              </a:ext>
            </a:extLst>
          </p:cNvPr>
          <p:cNvSpPr txBox="1">
            <a:spLocks/>
          </p:cNvSpPr>
          <p:nvPr/>
        </p:nvSpPr>
        <p:spPr>
          <a:xfrm>
            <a:off x="333821" y="3555513"/>
            <a:ext cx="4708298" cy="1724024"/>
          </a:xfrm>
          <a:prstGeom prst="rect">
            <a:avLst/>
          </a:prstGeom>
        </p:spPr>
        <p:txBody>
          <a:bodyPr lIns="0" tIns="0" rIns="0" bIns="0"/>
          <a:lstStyle>
            <a:lvl1pPr algn="l" defTabSz="914491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bg2"/>
                </a:solidFill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  <a:t>—</a:t>
            </a:r>
            <a:br>
              <a:rPr lang="en-US" sz="2800" b="1" dirty="0">
                <a:solidFill>
                  <a:schemeClr val="bg1"/>
                </a:solidFill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2800" b="1" dirty="0">
                <a:latin typeface="+mn-lt"/>
                <a:ea typeface="ABBvoice Light" panose="020D0403020503020204" pitchFamily="34" charset="0"/>
                <a:cs typeface="ABBvoice Light" panose="020D0403020503020204" pitchFamily="34" charset="0"/>
              </a:rPr>
              <a:t>Electrifying Canada </a:t>
            </a:r>
          </a:p>
          <a:p>
            <a:r>
              <a:rPr lang="en-US" sz="2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in a safe, smart and sustainable way</a:t>
            </a:r>
          </a:p>
          <a:p>
            <a:endParaRPr lang="en-US" sz="2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endParaRPr lang="en-US" sz="2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r>
              <a:rPr lang="en-US" sz="2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go.abb/electrification</a:t>
            </a:r>
          </a:p>
        </p:txBody>
      </p:sp>
      <p:sp>
        <p:nvSpPr>
          <p:cNvPr id="6" name="Rectangle 5">
            <a:hlinkClick r:id="rId4"/>
            <a:extLst>
              <a:ext uri="{FF2B5EF4-FFF2-40B4-BE49-F238E27FC236}">
                <a16:creationId xmlns:a16="http://schemas.microsoft.com/office/drawing/2014/main" id="{B2988864-A0BC-DDD5-D953-0DBD28A11396}"/>
              </a:ext>
            </a:extLst>
          </p:cNvPr>
          <p:cNvSpPr/>
          <p:nvPr/>
        </p:nvSpPr>
        <p:spPr bwMode="gray">
          <a:xfrm>
            <a:off x="275665" y="6185927"/>
            <a:ext cx="3812241" cy="504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3B49625-E0AD-6BCE-66E4-A3A1AB62A99F}"/>
              </a:ext>
            </a:extLst>
          </p:cNvPr>
          <p:cNvGrpSpPr/>
          <p:nvPr/>
        </p:nvGrpSpPr>
        <p:grpSpPr>
          <a:xfrm>
            <a:off x="4882218" y="6337898"/>
            <a:ext cx="3066351" cy="200056"/>
            <a:chOff x="4882218" y="6337898"/>
            <a:chExt cx="3066351" cy="20005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A2E1872-1C10-4806-B86C-5C63FE49CBA9}"/>
                </a:ext>
              </a:extLst>
            </p:cNvPr>
            <p:cNvSpPr txBox="1"/>
            <p:nvPr/>
          </p:nvSpPr>
          <p:spPr bwMode="gray">
            <a:xfrm>
              <a:off x="4882218" y="6337899"/>
              <a:ext cx="3066351" cy="20005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700" dirty="0">
                  <a:solidFill>
                    <a:schemeClr val="bg1"/>
                  </a:solidFill>
                </a:rPr>
                <a:t>Copyright ABB. March 2024.  All Rights reserved.  9AKK107046A0852</a:t>
              </a:r>
            </a:p>
          </p:txBody>
        </p:sp>
        <p:sp>
          <p:nvSpPr>
            <p:cNvPr id="10" name="Rectangle 9">
              <a:hlinkClick r:id="rId5"/>
              <a:extLst>
                <a:ext uri="{FF2B5EF4-FFF2-40B4-BE49-F238E27FC236}">
                  <a16:creationId xmlns:a16="http://schemas.microsoft.com/office/drawing/2014/main" id="{54D4F6A1-D124-3434-2E9E-D7767D2CED68}"/>
                </a:ext>
              </a:extLst>
            </p:cNvPr>
            <p:cNvSpPr/>
            <p:nvPr/>
          </p:nvSpPr>
          <p:spPr bwMode="gray">
            <a:xfrm>
              <a:off x="6975445" y="6337898"/>
              <a:ext cx="906011" cy="2000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/>
            </a:p>
          </p:txBody>
        </p:sp>
      </p:grpSp>
      <p:pic>
        <p:nvPicPr>
          <p:cNvPr id="7" name="Picture 19">
            <a:extLst>
              <a:ext uri="{FF2B5EF4-FFF2-40B4-BE49-F238E27FC236}">
                <a16:creationId xmlns:a16="http://schemas.microsoft.com/office/drawing/2014/main" id="{239B7BBF-4DDC-72C9-787B-DDEE33F581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79643" y="6160150"/>
            <a:ext cx="873621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5212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60C22A6E-1157-2E68-A557-B4FF68AEF208}"/>
              </a:ext>
            </a:extLst>
          </p:cNvPr>
          <p:cNvGrpSpPr/>
          <p:nvPr/>
        </p:nvGrpSpPr>
        <p:grpSpPr>
          <a:xfrm>
            <a:off x="461409" y="1409979"/>
            <a:ext cx="9817515" cy="5339596"/>
            <a:chOff x="461409" y="1409979"/>
            <a:chExt cx="9817515" cy="5339596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B7FD099B-43C8-532F-324E-01A64BAE96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1409" y="1409979"/>
              <a:ext cx="9817515" cy="5339596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57CB075A-21A2-F2A7-CDDD-3CD6A076BEB7}"/>
                </a:ext>
              </a:extLst>
            </p:cNvPr>
            <p:cNvSpPr/>
            <p:nvPr/>
          </p:nvSpPr>
          <p:spPr bwMode="gray">
            <a:xfrm>
              <a:off x="9465425" y="5663738"/>
              <a:ext cx="786939" cy="7703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932D69B-5C5C-5E97-A931-B6ED556A1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Bef>
                <a:spcPts val="0"/>
              </a:spcBef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ABB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Canada at a glance</a:t>
            </a:r>
            <a:endParaRPr lang="en-US" sz="2800" b="0" dirty="0">
              <a:solidFill>
                <a:srgbClr val="000000"/>
              </a:solidFill>
              <a:latin typeface="ABBvoice"/>
              <a:ea typeface="ABBvoice"/>
              <a:cs typeface="ABBvoice"/>
            </a:endParaRPr>
          </a:p>
        </p:txBody>
      </p:sp>
      <p:sp>
        <p:nvSpPr>
          <p:cNvPr id="32" name="Subtitle 31">
            <a:extLst>
              <a:ext uri="{FF2B5EF4-FFF2-40B4-BE49-F238E27FC236}">
                <a16:creationId xmlns:a16="http://schemas.microsoft.com/office/drawing/2014/main" id="{0B547595-3316-65B9-5537-2422C25F798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2367" y="1138373"/>
            <a:ext cx="11520898" cy="5040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>
                <a:solidFill>
                  <a:srgbClr val="000000"/>
                </a:solidFill>
                <a:latin typeface="ABBvoice Light"/>
              </a:rPr>
              <a:t>National c</a:t>
            </a:r>
            <a:r>
              <a:rPr lang="en-US" sz="2000" dirty="0">
                <a:solidFill>
                  <a:srgbClr val="000000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ollaboration</a:t>
            </a:r>
            <a:r>
              <a:rPr lang="en-US" sz="2000" b="0" dirty="0">
                <a:solidFill>
                  <a:srgbClr val="000000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enables</a:t>
            </a:r>
            <a:r>
              <a:rPr lang="en-US" sz="2000" b="0" dirty="0">
                <a:solidFill>
                  <a:srgbClr val="000000"/>
                </a:solidFill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rPr>
              <a:t> a more sustainable and resource-efficient future</a:t>
            </a:r>
            <a:endParaRPr lang="en-US" sz="2000" dirty="0">
              <a:latin typeface="ABBvoice Light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DC9DA8D6-7902-EF8E-EACF-ABD8A32C5ECC}"/>
              </a:ext>
            </a:extLst>
          </p:cNvPr>
          <p:cNvGrpSpPr/>
          <p:nvPr/>
        </p:nvGrpSpPr>
        <p:grpSpPr>
          <a:xfrm>
            <a:off x="358826" y="4188435"/>
            <a:ext cx="9545045" cy="2124365"/>
            <a:chOff x="358826" y="4368206"/>
            <a:chExt cx="9545045" cy="2124365"/>
          </a:xfrm>
        </p:grpSpPr>
        <p:pic>
          <p:nvPicPr>
            <p:cNvPr id="33" name="Picture Placeholder 21">
              <a:extLst>
                <a:ext uri="{FF2B5EF4-FFF2-40B4-BE49-F238E27FC236}">
                  <a16:creationId xmlns:a16="http://schemas.microsoft.com/office/drawing/2014/main" id="{120FE41F-CA9F-8E13-9801-DF6BC803EE0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8826" y="4368206"/>
              <a:ext cx="2174152" cy="2124365"/>
            </a:xfrm>
            <a:prstGeom prst="ellipse">
              <a:avLst/>
            </a:prstGeom>
            <a:ln w="63500" cap="rnd">
              <a:noFill/>
            </a:ln>
            <a:effectLst/>
          </p:spPr>
        </p:pic>
        <p:pic>
          <p:nvPicPr>
            <p:cNvPr id="37" name="Picture Placeholder 22">
              <a:extLst>
                <a:ext uri="{FF2B5EF4-FFF2-40B4-BE49-F238E27FC236}">
                  <a16:creationId xmlns:a16="http://schemas.microsoft.com/office/drawing/2014/main" id="{0C76AEBF-CE0E-E00C-16B0-E28654E54F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15867" y="4368206"/>
              <a:ext cx="2174920" cy="2124225"/>
            </a:xfrm>
            <a:prstGeom prst="ellipse">
              <a:avLst/>
            </a:prstGeom>
            <a:ln w="63500" cap="rnd">
              <a:noFill/>
            </a:ln>
            <a:effectLst/>
          </p:spPr>
        </p:pic>
        <p:pic>
          <p:nvPicPr>
            <p:cNvPr id="38" name="Imagen 3">
              <a:extLst>
                <a:ext uri="{FF2B5EF4-FFF2-40B4-BE49-F238E27FC236}">
                  <a16:creationId xmlns:a16="http://schemas.microsoft.com/office/drawing/2014/main" id="{5252DCF4-76C9-817E-46EF-BCA85D7C26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73676" y="4368206"/>
              <a:ext cx="2173653" cy="2124225"/>
            </a:xfrm>
            <a:prstGeom prst="ellipse">
              <a:avLst/>
            </a:prstGeom>
            <a:ln w="63500" cap="rnd">
              <a:noFill/>
            </a:ln>
            <a:effectLst/>
          </p:spPr>
        </p:pic>
        <p:pic>
          <p:nvPicPr>
            <p:cNvPr id="39" name="Picture 4">
              <a:extLst>
                <a:ext uri="{FF2B5EF4-FFF2-40B4-BE49-F238E27FC236}">
                  <a16:creationId xmlns:a16="http://schemas.microsoft.com/office/drawing/2014/main" id="{54803499-2E25-6D20-F949-68E2C8139B9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730218" y="4368206"/>
              <a:ext cx="2173653" cy="2124225"/>
            </a:xfrm>
            <a:prstGeom prst="ellipse">
              <a:avLst/>
            </a:prstGeom>
            <a:ln w="63500" cap="rnd"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D0978F1-D81A-71A6-1249-1BB48D5E4DC9}"/>
              </a:ext>
            </a:extLst>
          </p:cNvPr>
          <p:cNvSpPr txBox="1">
            <a:spLocks/>
          </p:cNvSpPr>
          <p:nvPr/>
        </p:nvSpPr>
        <p:spPr bwMode="gray">
          <a:xfrm>
            <a:off x="284608" y="3511036"/>
            <a:ext cx="2333949" cy="20361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b="1" cap="all" spc="200" dirty="0">
                <a:solidFill>
                  <a:schemeClr val="tx1"/>
                </a:solidFill>
                <a:latin typeface="ABBvoice"/>
                <a:ea typeface="ABBvoice"/>
                <a:cs typeface="ABBvoice"/>
              </a:rPr>
              <a:t>ELECTRIFICATION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49980FE9-D3DA-0D8C-4593-B80C9D162819}"/>
              </a:ext>
            </a:extLst>
          </p:cNvPr>
          <p:cNvSpPr txBox="1">
            <a:spLocks/>
          </p:cNvSpPr>
          <p:nvPr/>
        </p:nvSpPr>
        <p:spPr>
          <a:xfrm>
            <a:off x="2783998" y="3511036"/>
            <a:ext cx="2261951" cy="2036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cap="all" spc="200" dirty="0">
                <a:latin typeface="ABBvoice"/>
                <a:ea typeface="ABBvoice"/>
                <a:cs typeface="ABBvoice"/>
              </a:rPr>
              <a:t>MOTION</a:t>
            </a: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6" name="Text Placeholder 16">
            <a:extLst>
              <a:ext uri="{FF2B5EF4-FFF2-40B4-BE49-F238E27FC236}">
                <a16:creationId xmlns:a16="http://schemas.microsoft.com/office/drawing/2014/main" id="{7B7FFC89-47E7-3D54-C7C9-20ADF547A292}"/>
              </a:ext>
            </a:extLst>
          </p:cNvPr>
          <p:cNvSpPr txBox="1">
            <a:spLocks/>
          </p:cNvSpPr>
          <p:nvPr/>
        </p:nvSpPr>
        <p:spPr>
          <a:xfrm>
            <a:off x="5148871" y="3511684"/>
            <a:ext cx="2333949" cy="4160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cap="all" spc="200" dirty="0">
                <a:latin typeface="ABBvoice"/>
                <a:ea typeface="ABBvoice"/>
                <a:cs typeface="ABBvoice"/>
              </a:rPr>
              <a:t>PROCESS</a:t>
            </a:r>
            <a:r>
              <a:rPr lang="en-US" b="1" spc="100" dirty="0">
                <a:solidFill>
                  <a:schemeClr val="accent3"/>
                </a:solidFill>
                <a:latin typeface="ABBvoice"/>
                <a:ea typeface="ABBvoice"/>
                <a:cs typeface="ABBvoice"/>
              </a:rPr>
              <a:t> </a:t>
            </a:r>
            <a:br>
              <a:rPr lang="en-US" b="1" spc="100" dirty="0">
                <a:solidFill>
                  <a:schemeClr val="accent3"/>
                </a:solidFill>
                <a:latin typeface="ABBvoice"/>
                <a:ea typeface="ABBvoice"/>
                <a:cs typeface="ABBvoice"/>
              </a:rPr>
            </a:br>
            <a:r>
              <a:rPr lang="en-US" b="1" cap="all" spc="200" dirty="0">
                <a:latin typeface="ABBvoice"/>
                <a:ea typeface="ABBvoice"/>
                <a:cs typeface="ABBvoice"/>
              </a:rPr>
              <a:t>AUTOMATION</a:t>
            </a:r>
            <a:br>
              <a:rPr lang="en-US" b="1" spc="100" dirty="0">
                <a:solidFill>
                  <a:schemeClr val="accent3"/>
                </a:solidFill>
                <a:latin typeface="ABBvoice"/>
                <a:ea typeface="ABBvoice"/>
                <a:cs typeface="ABBvoice"/>
              </a:rPr>
            </a:br>
            <a:endParaRPr lang="en-US" b="1" spc="100" dirty="0">
              <a:solidFill>
                <a:schemeClr val="accent3"/>
              </a:solidFill>
              <a:latin typeface="ABBvoice"/>
              <a:ea typeface="ABBvoice"/>
              <a:cs typeface="ABBvoice"/>
            </a:endParaRP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0" name="Text Placeholder 19">
            <a:extLst>
              <a:ext uri="{FF2B5EF4-FFF2-40B4-BE49-F238E27FC236}">
                <a16:creationId xmlns:a16="http://schemas.microsoft.com/office/drawing/2014/main" id="{87E51546-D860-1B46-1D91-B0CB09C2B541}"/>
              </a:ext>
            </a:extLst>
          </p:cNvPr>
          <p:cNvSpPr txBox="1">
            <a:spLocks/>
          </p:cNvSpPr>
          <p:nvPr/>
        </p:nvSpPr>
        <p:spPr>
          <a:xfrm>
            <a:off x="7458218" y="3521115"/>
            <a:ext cx="2751449" cy="416038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491">
              <a:defRPr/>
            </a:pPr>
            <a:r>
              <a:rPr lang="en-US" b="1" cap="all" spc="200" dirty="0">
                <a:latin typeface="ABBvoice"/>
                <a:ea typeface="ABBvoice"/>
                <a:cs typeface="ABBvoice"/>
              </a:rPr>
              <a:t>ROBOTICS + DISCRETE AUTOMATION</a:t>
            </a:r>
          </a:p>
          <a:p>
            <a:pPr marL="175895" indent="-175895" algn="ctr" defTabSz="914491">
              <a:spcBef>
                <a:spcPts val="900"/>
              </a:spcBef>
              <a:buFont typeface="Symbol" panose="05050102010706020507" pitchFamily="18" charset="2"/>
              <a:buChar char="-"/>
              <a:defRPr/>
            </a:pPr>
            <a:endParaRPr lang="en-US" dirty="0">
              <a:solidFill>
                <a:schemeClr val="accent3"/>
              </a:solidFill>
              <a:latin typeface="ABBvoice"/>
              <a:ea typeface="ABBvoice"/>
              <a:cs typeface="ABBvoice"/>
            </a:endParaRPr>
          </a:p>
          <a:p>
            <a:pPr algn="ctr"/>
            <a:endParaRPr lang="en-US" dirty="0">
              <a:solidFill>
                <a:schemeClr val="accent3"/>
              </a:solidFill>
            </a:endParaRP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302B5E25-1526-A1B5-8459-F6D7A2273664}"/>
              </a:ext>
            </a:extLst>
          </p:cNvPr>
          <p:cNvGrpSpPr/>
          <p:nvPr/>
        </p:nvGrpSpPr>
        <p:grpSpPr>
          <a:xfrm>
            <a:off x="0" y="3277706"/>
            <a:ext cx="10055558" cy="80258"/>
            <a:chOff x="0" y="3534599"/>
            <a:chExt cx="10055558" cy="80258"/>
          </a:xfrm>
        </p:grpSpPr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0E75019C-A4CF-9F90-2418-941365438088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0" y="3574316"/>
              <a:ext cx="10055558" cy="0"/>
            </a:xfrm>
            <a:prstGeom prst="line">
              <a:avLst/>
            </a:prstGeom>
            <a:ln w="1270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AE2CCD8B-6CCE-39F9-C70B-E852B57A579E}"/>
                </a:ext>
              </a:extLst>
            </p:cNvPr>
            <p:cNvSpPr/>
            <p:nvPr/>
          </p:nvSpPr>
          <p:spPr bwMode="gray">
            <a:xfrm>
              <a:off x="1405702" y="3534599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9C404172-8660-0944-66E5-A228331AAEA0}"/>
                </a:ext>
              </a:extLst>
            </p:cNvPr>
            <p:cNvSpPr/>
            <p:nvPr/>
          </p:nvSpPr>
          <p:spPr bwMode="gray">
            <a:xfrm>
              <a:off x="3872252" y="3534599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F25513A3-2B9C-1414-B3D2-13ED09C6EC12}"/>
                </a:ext>
              </a:extLst>
            </p:cNvPr>
            <p:cNvSpPr/>
            <p:nvPr/>
          </p:nvSpPr>
          <p:spPr bwMode="gray">
            <a:xfrm>
              <a:off x="6266831" y="3534599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6CFEF74-C657-371F-EC7B-B5FDA8838B3C}"/>
                </a:ext>
              </a:extLst>
            </p:cNvPr>
            <p:cNvSpPr/>
            <p:nvPr/>
          </p:nvSpPr>
          <p:spPr bwMode="gray">
            <a:xfrm>
              <a:off x="8776844" y="3534599"/>
              <a:ext cx="80401" cy="80258"/>
            </a:xfrm>
            <a:prstGeom prst="ellipse">
              <a:avLst/>
            </a:prstGeom>
            <a:solidFill>
              <a:schemeClr val="bg2"/>
            </a:solidFill>
            <a:ln w="2857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04B2E7A-DB8F-0B0E-8965-B55ADEBCC7EF}"/>
              </a:ext>
            </a:extLst>
          </p:cNvPr>
          <p:cNvGrpSpPr/>
          <p:nvPr/>
        </p:nvGrpSpPr>
        <p:grpSpPr>
          <a:xfrm>
            <a:off x="10144544" y="2895755"/>
            <a:ext cx="1662935" cy="969775"/>
            <a:chOff x="10285645" y="3864824"/>
            <a:chExt cx="1662935" cy="969775"/>
          </a:xfrm>
        </p:grpSpPr>
        <p:sp>
          <p:nvSpPr>
            <p:cNvPr id="4" name="Text Placeholder 4">
              <a:extLst>
                <a:ext uri="{FF2B5EF4-FFF2-40B4-BE49-F238E27FC236}">
                  <a16:creationId xmlns:a16="http://schemas.microsoft.com/office/drawing/2014/main" id="{D0FE4A86-1DBA-BCD8-E278-E353CF6879A2}"/>
                </a:ext>
              </a:extLst>
            </p:cNvPr>
            <p:cNvSpPr txBox="1">
              <a:spLocks/>
            </p:cNvSpPr>
            <p:nvPr/>
          </p:nvSpPr>
          <p:spPr>
            <a:xfrm>
              <a:off x="10285645" y="4499076"/>
              <a:ext cx="1662935" cy="335523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</a:pPr>
              <a:r>
                <a:rPr lang="en-GB" sz="2400" b="1" dirty="0"/>
                <a:t>~ 3 200</a:t>
              </a:r>
            </a:p>
            <a:p>
              <a:pPr algn="ctr">
                <a:spcBef>
                  <a:spcPts val="0"/>
                </a:spcBef>
              </a:pPr>
              <a:r>
                <a:rPr lang="en-GB" sz="1600" dirty="0">
                  <a:latin typeface="ABBvoice Light"/>
                  <a:ea typeface="ABBvoice Light" panose="020D0403020503020204" pitchFamily="34" charset="0"/>
                  <a:cs typeface="ABBvoice Light" panose="020D0403020503020204" pitchFamily="34" charset="0"/>
                </a:rPr>
                <a:t>Employees</a:t>
              </a:r>
              <a:endParaRPr lang="en-US" sz="1600" dirty="0">
                <a:latin typeface="ABBvoice Light"/>
                <a:ea typeface="ABBvoice Light" panose="020D0403020503020204" pitchFamily="34" charset="0"/>
                <a:cs typeface="ABBvoice Light" panose="020D0403020503020204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831EEE3-CC62-F76E-3E44-94E8031F2F88}"/>
                </a:ext>
              </a:extLst>
            </p:cNvPr>
            <p:cNvGrpSpPr/>
            <p:nvPr/>
          </p:nvGrpSpPr>
          <p:grpSpPr>
            <a:xfrm>
              <a:off x="10806451" y="3864824"/>
              <a:ext cx="621322" cy="621320"/>
              <a:chOff x="4623512" y="5697744"/>
              <a:chExt cx="632666" cy="632666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896E9464-D816-7A9E-8AE0-DC2A44145B7F}"/>
                  </a:ext>
                </a:extLst>
              </p:cNvPr>
              <p:cNvSpPr/>
              <p:nvPr/>
            </p:nvSpPr>
            <p:spPr bwMode="gray">
              <a:xfrm>
                <a:off x="4623512" y="5697744"/>
                <a:ext cx="632666" cy="63266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8" name="Graphic 7">
                <a:extLst>
                  <a:ext uri="{FF2B5EF4-FFF2-40B4-BE49-F238E27FC236}">
                    <a16:creationId xmlns:a16="http://schemas.microsoft.com/office/drawing/2014/main" id="{5AAE6470-C24E-6A1C-7CA5-6CE5DB6258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4711245" y="5793990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9DE12FA-93C5-F701-DAF7-909E931D0576}"/>
              </a:ext>
            </a:extLst>
          </p:cNvPr>
          <p:cNvGrpSpPr/>
          <p:nvPr/>
        </p:nvGrpSpPr>
        <p:grpSpPr>
          <a:xfrm>
            <a:off x="10235002" y="1360850"/>
            <a:ext cx="1510062" cy="934977"/>
            <a:chOff x="10385349" y="2499840"/>
            <a:chExt cx="1510062" cy="934977"/>
          </a:xfrm>
        </p:grpSpPr>
        <p:sp>
          <p:nvSpPr>
            <p:cNvPr id="12" name="Text Placeholder 2">
              <a:extLst>
                <a:ext uri="{FF2B5EF4-FFF2-40B4-BE49-F238E27FC236}">
                  <a16:creationId xmlns:a16="http://schemas.microsoft.com/office/drawing/2014/main" id="{6B61B71D-D2C6-C313-855C-2B181ECE299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85349" y="3099294"/>
              <a:ext cx="1510062" cy="33552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ea typeface="ABBvoice Light" panose="020D0403020503020204" pitchFamily="34" charset="0"/>
                  <a:cs typeface="ABBvoice Light" panose="020D0403020503020204" pitchFamily="34" charset="0"/>
                </a:rPr>
                <a:t>33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19DBF31-4A56-D1FD-DC56-EEBD50E09211}"/>
                </a:ext>
              </a:extLst>
            </p:cNvPr>
            <p:cNvGrpSpPr/>
            <p:nvPr/>
          </p:nvGrpSpPr>
          <p:grpSpPr>
            <a:xfrm>
              <a:off x="10806451" y="2499840"/>
              <a:ext cx="621322" cy="621320"/>
              <a:chOff x="331788" y="6100600"/>
              <a:chExt cx="632666" cy="632666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2F544280-3735-3A50-C5B6-4E1BA5DEA054}"/>
                  </a:ext>
                </a:extLst>
              </p:cNvPr>
              <p:cNvSpPr/>
              <p:nvPr/>
            </p:nvSpPr>
            <p:spPr bwMode="gray">
              <a:xfrm>
                <a:off x="331788" y="6100600"/>
                <a:ext cx="632666" cy="63266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5" name="Graphic 14">
                <a:extLst>
                  <a:ext uri="{FF2B5EF4-FFF2-40B4-BE49-F238E27FC236}">
                    <a16:creationId xmlns:a16="http://schemas.microsoft.com/office/drawing/2014/main" id="{34CAC50E-D3AD-1B99-5836-4E607D06F5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19521" y="6188344"/>
                <a:ext cx="457200" cy="457200"/>
              </a:xfrm>
              <a:prstGeom prst="rect">
                <a:avLst/>
              </a:prstGeom>
            </p:spPr>
          </p:pic>
        </p:grp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E3CDDFFC-3DE1-C8A8-BCEC-C038758A217C}"/>
              </a:ext>
            </a:extLst>
          </p:cNvPr>
          <p:cNvGrpSpPr/>
          <p:nvPr/>
        </p:nvGrpSpPr>
        <p:grpSpPr>
          <a:xfrm>
            <a:off x="9984756" y="4417514"/>
            <a:ext cx="1982510" cy="928637"/>
            <a:chOff x="10125857" y="5343147"/>
            <a:chExt cx="1982510" cy="928637"/>
          </a:xfrm>
        </p:grpSpPr>
        <p:sp>
          <p:nvSpPr>
            <p:cNvPr id="18" name="Text Placeholder 3">
              <a:extLst>
                <a:ext uri="{FF2B5EF4-FFF2-40B4-BE49-F238E27FC236}">
                  <a16:creationId xmlns:a16="http://schemas.microsoft.com/office/drawing/2014/main" id="{6BA98A0D-F3BE-8CF3-3E05-EDF493D270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125857" y="5990502"/>
              <a:ext cx="1982510" cy="281282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80018" indent="-180018" algn="l" defTabSz="914491" rtl="0" eaLnBrk="1" latinLnBrk="0" hangingPunct="1">
                <a:spcBef>
                  <a:spcPts val="600"/>
                </a:spcBef>
                <a:buFont typeface="ABBvoiceOffice" panose="020D0603020503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0036" indent="-180018" algn="l" defTabSz="914491" rtl="0" eaLnBrk="1" latinLnBrk="0" hangingPunct="1">
                <a:spcBef>
                  <a:spcPts val="6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/>
                <a:t>100+</a:t>
              </a:r>
              <a:endParaRPr lang="en-US" dirty="0"/>
            </a:p>
            <a:p>
              <a:pPr algn="ctr">
                <a:spcBef>
                  <a:spcPts val="0"/>
                </a:spcBef>
              </a:pPr>
              <a:r>
                <a:rPr lang="en-US" sz="1600" dirty="0">
                  <a:latin typeface="ABBvoice Light"/>
                </a:rPr>
                <a:t>Years of innovation</a:t>
              </a:r>
            </a:p>
            <a:p>
              <a:pPr algn="ctr">
                <a:spcBef>
                  <a:spcPts val="0"/>
                </a:spcBef>
              </a:pPr>
              <a:r>
                <a:rPr lang="en-US" sz="1600" dirty="0">
                  <a:latin typeface="ABBvoice Light"/>
                </a:rPr>
                <a:t>in Canada</a:t>
              </a:r>
              <a:endParaRPr lang="en-US" dirty="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A21E103-426A-BF53-22B9-C605163CA03D}"/>
                </a:ext>
              </a:extLst>
            </p:cNvPr>
            <p:cNvSpPr/>
            <p:nvPr/>
          </p:nvSpPr>
          <p:spPr bwMode="gray">
            <a:xfrm>
              <a:off x="10806451" y="5343147"/>
              <a:ext cx="621322" cy="621321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l">
                <a:spcBef>
                  <a:spcPts val="600"/>
                </a:spcBef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83638C3E-6EE9-0DD6-5C01-AA77A917D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888512" y="5405129"/>
              <a:ext cx="457200" cy="457200"/>
            </a:xfrm>
            <a:prstGeom prst="rect">
              <a:avLst/>
            </a:prstGeom>
          </p:spPr>
        </p:pic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6059C46F-B4FB-E3BF-597A-3E7E0AEE3AE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4663" y="2158462"/>
            <a:ext cx="1608416" cy="617632"/>
          </a:xfrm>
          <a:prstGeom prst="rect">
            <a:avLst/>
          </a:prstGeom>
        </p:spPr>
      </p:pic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E088BF6B-D34A-1A5B-9043-D2DAC500525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DE9D7B8-C3B6-034C-7B12-4A75C36E78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lvl9pPr>
              <a:defRPr sz="800"/>
            </a:lvl9pPr>
          </a:lstStyle>
          <a:p>
            <a:pPr lvl="8"/>
            <a:r>
              <a:rPr lang="en-US" dirty="0"/>
              <a:t> 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BA6DAAF-67F9-33B5-DA39-4A2040DCA9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FD4CF0E-E2B9-84D2-0724-1DB35941A4E0}"/>
              </a:ext>
            </a:extLst>
          </p:cNvPr>
          <p:cNvSpPr txBox="1"/>
          <p:nvPr/>
        </p:nvSpPr>
        <p:spPr bwMode="gray">
          <a:xfrm>
            <a:off x="10098558" y="2213808"/>
            <a:ext cx="174352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Locations coast to coast</a:t>
            </a:r>
            <a:endParaRPr lang="en-US" sz="11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187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>
            <a:extLst>
              <a:ext uri="{FF2B5EF4-FFF2-40B4-BE49-F238E27FC236}">
                <a16:creationId xmlns:a16="http://schemas.microsoft.com/office/drawing/2014/main" id="{661021CC-0CCD-27CC-2C93-91DCA12C13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11283772" cy="396000"/>
          </a:xfrm>
        </p:spPr>
        <p:txBody>
          <a:bodyPr/>
          <a:lstStyle/>
          <a:p>
            <a:r>
              <a:rPr lang="en-US" sz="2800" dirty="0"/>
              <a:t>ABB Electrification in Canada: from source-to-socket</a:t>
            </a:r>
            <a:br>
              <a:rPr lang="en-US" sz="2800" dirty="0"/>
            </a:br>
            <a:endParaRPr lang="en-US" sz="2000" b="0" dirty="0">
              <a:solidFill>
                <a:srgbClr val="000000"/>
              </a:solidFill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5058412-398B-761A-78A2-61D566206740}"/>
              </a:ext>
            </a:extLst>
          </p:cNvPr>
          <p:cNvSpPr txBox="1">
            <a:spLocks/>
          </p:cNvSpPr>
          <p:nvPr/>
        </p:nvSpPr>
        <p:spPr bwMode="gray">
          <a:xfrm>
            <a:off x="7324789" y="5809484"/>
            <a:ext cx="3423404" cy="11100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9</a:t>
            </a:r>
            <a:endParaRPr lang="en-US" sz="1800" b="1" dirty="0"/>
          </a:p>
          <a:p>
            <a:pPr>
              <a:spcBef>
                <a:spcPts val="0"/>
              </a:spcBef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Distribution </a:t>
            </a:r>
            <a:b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enter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066CFC7-87F8-42BE-13DC-41E7B6971FBF}"/>
              </a:ext>
            </a:extLst>
          </p:cNvPr>
          <p:cNvSpPr txBox="1">
            <a:spLocks/>
          </p:cNvSpPr>
          <p:nvPr/>
        </p:nvSpPr>
        <p:spPr>
          <a:xfrm>
            <a:off x="2382886" y="2241460"/>
            <a:ext cx="1536087" cy="760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/>
              <a:t>~ 1,900</a:t>
            </a:r>
          </a:p>
          <a:p>
            <a:pPr>
              <a:spcBef>
                <a:spcPts val="0"/>
              </a:spcBef>
            </a:pP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  </a:t>
            </a:r>
            <a:r>
              <a:rPr lang="en-GB" sz="1600" spc="-15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</a:t>
            </a:r>
            <a:r>
              <a:rPr lang="en-GB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Employees</a:t>
            </a:r>
            <a:endParaRPr lang="en-US" sz="16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5860C50-1712-096A-5961-EC34D8F59338}"/>
              </a:ext>
            </a:extLst>
          </p:cNvPr>
          <p:cNvSpPr txBox="1">
            <a:spLocks/>
          </p:cNvSpPr>
          <p:nvPr/>
        </p:nvSpPr>
        <p:spPr bwMode="gray">
          <a:xfrm>
            <a:off x="8873677" y="3894793"/>
            <a:ext cx="2822604" cy="635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15 </a:t>
            </a:r>
            <a:endParaRPr lang="en-US" sz="1800" b="1" dirty="0"/>
          </a:p>
          <a:p>
            <a:pPr>
              <a:spcBef>
                <a:spcPts val="0"/>
              </a:spcBef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anufacturing </a:t>
            </a:r>
            <a:b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location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ECE432B4-D503-8753-1B37-FC89CF06DEE9}"/>
              </a:ext>
            </a:extLst>
          </p:cNvPr>
          <p:cNvSpPr txBox="1">
            <a:spLocks/>
          </p:cNvSpPr>
          <p:nvPr/>
        </p:nvSpPr>
        <p:spPr>
          <a:xfrm>
            <a:off x="7818906" y="1712351"/>
            <a:ext cx="2754004" cy="644664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2400" b="1" dirty="0"/>
              <a:t>+23,000</a:t>
            </a:r>
            <a:br>
              <a:rPr lang="en-GB" sz="1800" b="1" dirty="0"/>
            </a:br>
            <a:r>
              <a:rPr lang="en-GB" sz="1600" dirty="0">
                <a:latin typeface="ABBvoice Light"/>
              </a:rPr>
              <a:t>Products shipped/month</a:t>
            </a:r>
            <a:endParaRPr lang="en-US" sz="1600" dirty="0">
              <a:latin typeface="ABBvoice Ligh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8919BD5-6D16-8300-4432-8F8A88BFE481}"/>
              </a:ext>
            </a:extLst>
          </p:cNvPr>
          <p:cNvGrpSpPr/>
          <p:nvPr/>
        </p:nvGrpSpPr>
        <p:grpSpPr>
          <a:xfrm>
            <a:off x="3704394" y="1492462"/>
            <a:ext cx="4983828" cy="4964754"/>
            <a:chOff x="3280068" y="1492462"/>
            <a:chExt cx="4983828" cy="496475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F13579C-EADC-29C9-6F5F-7753A0F9C807}"/>
                </a:ext>
              </a:extLst>
            </p:cNvPr>
            <p:cNvSpPr/>
            <p:nvPr/>
          </p:nvSpPr>
          <p:spPr bwMode="gray">
            <a:xfrm rot="19821161">
              <a:off x="3468433" y="1799766"/>
              <a:ext cx="4290262" cy="4243145"/>
            </a:xfrm>
            <a:prstGeom prst="ellipse">
              <a:avLst/>
            </a:prstGeom>
            <a:ln w="12700">
              <a:solidFill>
                <a:schemeClr val="accent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48E7F1AA-0478-9E4B-A75F-2A618773F7B1}"/>
                </a:ext>
              </a:extLst>
            </p:cNvPr>
            <p:cNvGrpSpPr/>
            <p:nvPr/>
          </p:nvGrpSpPr>
          <p:grpSpPr>
            <a:xfrm>
              <a:off x="7189109" y="3797137"/>
              <a:ext cx="1074787" cy="1074786"/>
              <a:chOff x="7189109" y="3797137"/>
              <a:chExt cx="1074787" cy="1074786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FE3B6563-B286-312F-A74D-5098C3E23009}"/>
                  </a:ext>
                </a:extLst>
              </p:cNvPr>
              <p:cNvSpPr/>
              <p:nvPr/>
            </p:nvSpPr>
            <p:spPr bwMode="gray">
              <a:xfrm rot="21161">
                <a:off x="7189109" y="3797137"/>
                <a:ext cx="1074787" cy="1074786"/>
              </a:xfrm>
              <a:prstGeom prst="ellipse">
                <a:avLst/>
              </a:prstGeom>
              <a:solidFill>
                <a:schemeClr val="bg2"/>
              </a:solidFill>
              <a:ln w="635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28" name="Graphic 27">
                <a:extLst>
                  <a:ext uri="{FF2B5EF4-FFF2-40B4-BE49-F238E27FC236}">
                    <a16:creationId xmlns:a16="http://schemas.microsoft.com/office/drawing/2014/main" id="{19538210-2040-C8A9-FF83-3CC2E0D3D8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 rot="21161">
                <a:off x="7372698" y="3992089"/>
                <a:ext cx="694430" cy="694424"/>
              </a:xfrm>
              <a:prstGeom prst="rect">
                <a:avLst/>
              </a:prstGeom>
            </p:spPr>
          </p:pic>
        </p:grpSp>
        <p:pic>
          <p:nvPicPr>
            <p:cNvPr id="56" name="Picture Placeholder 21">
              <a:extLst>
                <a:ext uri="{FF2B5EF4-FFF2-40B4-BE49-F238E27FC236}">
                  <a16:creationId xmlns:a16="http://schemas.microsoft.com/office/drawing/2014/main" id="{BFD1BF0C-B42C-074C-3D11-E01D75391E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4273749" y="2612205"/>
              <a:ext cx="2679631" cy="2618270"/>
            </a:xfrm>
            <a:prstGeom prst="ellipse">
              <a:avLst/>
            </a:prstGeom>
            <a:ln w="63500" cap="rnd">
              <a:solidFill>
                <a:schemeClr val="bg1"/>
              </a:solidFill>
            </a:ln>
            <a:effectLst/>
          </p:spPr>
        </p:pic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7E85703-97C2-2732-A6EA-23183F73539B}"/>
                </a:ext>
              </a:extLst>
            </p:cNvPr>
            <p:cNvGrpSpPr/>
            <p:nvPr/>
          </p:nvGrpSpPr>
          <p:grpSpPr>
            <a:xfrm>
              <a:off x="3409472" y="2139132"/>
              <a:ext cx="1074787" cy="1074784"/>
              <a:chOff x="1735472" y="3347446"/>
              <a:chExt cx="621322" cy="62132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51E3B95A-E0B3-ABFB-4232-747C9D563A6A}"/>
                  </a:ext>
                </a:extLst>
              </p:cNvPr>
              <p:cNvSpPr/>
              <p:nvPr/>
            </p:nvSpPr>
            <p:spPr bwMode="gray">
              <a:xfrm rot="19821161">
                <a:off x="1735472" y="3347446"/>
                <a:ext cx="621322" cy="621320"/>
              </a:xfrm>
              <a:prstGeom prst="ellipse">
                <a:avLst/>
              </a:prstGeom>
              <a:solidFill>
                <a:schemeClr val="bg2"/>
              </a:solidFill>
              <a:ln w="635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6" name="Graphic 45">
                <a:extLst>
                  <a:ext uri="{FF2B5EF4-FFF2-40B4-BE49-F238E27FC236}">
                    <a16:creationId xmlns:a16="http://schemas.microsoft.com/office/drawing/2014/main" id="{E80132DE-A60D-F007-6244-7A4F1D4D37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819599" y="3413498"/>
                <a:ext cx="449002" cy="449001"/>
              </a:xfrm>
              <a:prstGeom prst="rect">
                <a:avLst/>
              </a:prstGeom>
            </p:spPr>
          </p:pic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1EA5C940-C0F8-2C3C-D391-BA2C5094DFE7}"/>
                </a:ext>
              </a:extLst>
            </p:cNvPr>
            <p:cNvGrpSpPr/>
            <p:nvPr/>
          </p:nvGrpSpPr>
          <p:grpSpPr>
            <a:xfrm>
              <a:off x="6155122" y="1492462"/>
              <a:ext cx="1074787" cy="1074786"/>
              <a:chOff x="6155122" y="1492462"/>
              <a:chExt cx="1074787" cy="1074786"/>
            </a:xfrm>
          </p:grpSpPr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C6DDE49D-39A2-7836-CFC4-F07578F3E3FA}"/>
                  </a:ext>
                </a:extLst>
              </p:cNvPr>
              <p:cNvSpPr/>
              <p:nvPr/>
            </p:nvSpPr>
            <p:spPr bwMode="gray">
              <a:xfrm>
                <a:off x="6155122" y="1492462"/>
                <a:ext cx="1074787" cy="1074786"/>
              </a:xfrm>
              <a:prstGeom prst="ellipse">
                <a:avLst/>
              </a:prstGeom>
              <a:solidFill>
                <a:schemeClr val="bg2"/>
              </a:solidFill>
              <a:ln w="635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" name="Graphic 24">
                <a:extLst>
                  <a:ext uri="{FF2B5EF4-FFF2-40B4-BE49-F238E27FC236}">
                    <a16:creationId xmlns:a16="http://schemas.microsoft.com/office/drawing/2014/main" id="{E09DDCF8-CC2B-F8AB-6FD0-1D8B18A2E99A}"/>
                  </a:ext>
                </a:extLst>
              </p:cNvPr>
              <p:cNvSpPr/>
              <p:nvPr/>
            </p:nvSpPr>
            <p:spPr>
              <a:xfrm>
                <a:off x="6380907" y="1838196"/>
                <a:ext cx="623216" cy="383318"/>
              </a:xfrm>
              <a:custGeom>
                <a:avLst/>
                <a:gdLst>
                  <a:gd name="connsiteX0" fmla="*/ 409575 w 419100"/>
                  <a:gd name="connsiteY0" fmla="*/ 114300 h 257775"/>
                  <a:gd name="connsiteX1" fmla="*/ 360836 w 419100"/>
                  <a:gd name="connsiteY1" fmla="*/ 114300 h 257775"/>
                  <a:gd name="connsiteX2" fmla="*/ 352349 w 419100"/>
                  <a:gd name="connsiteY2" fmla="*/ 46444 h 257775"/>
                  <a:gd name="connsiteX3" fmla="*/ 342900 w 419100"/>
                  <a:gd name="connsiteY3" fmla="*/ 38100 h 257775"/>
                  <a:gd name="connsiteX4" fmla="*/ 266700 w 419100"/>
                  <a:gd name="connsiteY4" fmla="*/ 38100 h 257775"/>
                  <a:gd name="connsiteX5" fmla="*/ 266700 w 419100"/>
                  <a:gd name="connsiteY5" fmla="*/ 9525 h 257775"/>
                  <a:gd name="connsiteX6" fmla="*/ 257175 w 419100"/>
                  <a:gd name="connsiteY6" fmla="*/ 0 h 257775"/>
                  <a:gd name="connsiteX7" fmla="*/ 9525 w 419100"/>
                  <a:gd name="connsiteY7" fmla="*/ 0 h 257775"/>
                  <a:gd name="connsiteX8" fmla="*/ 0 w 419100"/>
                  <a:gd name="connsiteY8" fmla="*/ 9525 h 257775"/>
                  <a:gd name="connsiteX9" fmla="*/ 0 w 419100"/>
                  <a:gd name="connsiteY9" fmla="*/ 209550 h 257775"/>
                  <a:gd name="connsiteX10" fmla="*/ 9525 w 419100"/>
                  <a:gd name="connsiteY10" fmla="*/ 219075 h 257775"/>
                  <a:gd name="connsiteX11" fmla="*/ 48530 w 419100"/>
                  <a:gd name="connsiteY11" fmla="*/ 219075 h 257775"/>
                  <a:gd name="connsiteX12" fmla="*/ 95250 w 419100"/>
                  <a:gd name="connsiteY12" fmla="*/ 257775 h 257775"/>
                  <a:gd name="connsiteX13" fmla="*/ 141970 w 419100"/>
                  <a:gd name="connsiteY13" fmla="*/ 219075 h 257775"/>
                  <a:gd name="connsiteX14" fmla="*/ 257175 w 419100"/>
                  <a:gd name="connsiteY14" fmla="*/ 219075 h 257775"/>
                  <a:gd name="connsiteX15" fmla="*/ 286655 w 419100"/>
                  <a:gd name="connsiteY15" fmla="*/ 219075 h 257775"/>
                  <a:gd name="connsiteX16" fmla="*/ 333375 w 419100"/>
                  <a:gd name="connsiteY16" fmla="*/ 257775 h 257775"/>
                  <a:gd name="connsiteX17" fmla="*/ 380095 w 419100"/>
                  <a:gd name="connsiteY17" fmla="*/ 219075 h 257775"/>
                  <a:gd name="connsiteX18" fmla="*/ 409575 w 419100"/>
                  <a:gd name="connsiteY18" fmla="*/ 219075 h 257775"/>
                  <a:gd name="connsiteX19" fmla="*/ 419100 w 419100"/>
                  <a:gd name="connsiteY19" fmla="*/ 209550 h 257775"/>
                  <a:gd name="connsiteX20" fmla="*/ 419100 w 419100"/>
                  <a:gd name="connsiteY20" fmla="*/ 123825 h 257775"/>
                  <a:gd name="connsiteX21" fmla="*/ 409575 w 419100"/>
                  <a:gd name="connsiteY21" fmla="*/ 114300 h 257775"/>
                  <a:gd name="connsiteX22" fmla="*/ 334489 w 419100"/>
                  <a:gd name="connsiteY22" fmla="*/ 57150 h 257775"/>
                  <a:gd name="connsiteX23" fmla="*/ 341633 w 419100"/>
                  <a:gd name="connsiteY23" fmla="*/ 114300 h 257775"/>
                  <a:gd name="connsiteX24" fmla="*/ 266700 w 419100"/>
                  <a:gd name="connsiteY24" fmla="*/ 114300 h 257775"/>
                  <a:gd name="connsiteX25" fmla="*/ 266700 w 419100"/>
                  <a:gd name="connsiteY25" fmla="*/ 57150 h 257775"/>
                  <a:gd name="connsiteX26" fmla="*/ 334489 w 419100"/>
                  <a:gd name="connsiteY26" fmla="*/ 57150 h 257775"/>
                  <a:gd name="connsiteX27" fmla="*/ 95250 w 419100"/>
                  <a:gd name="connsiteY27" fmla="*/ 238725 h 257775"/>
                  <a:gd name="connsiteX28" fmla="*/ 66675 w 419100"/>
                  <a:gd name="connsiteY28" fmla="*/ 210150 h 257775"/>
                  <a:gd name="connsiteX29" fmla="*/ 95250 w 419100"/>
                  <a:gd name="connsiteY29" fmla="*/ 181575 h 257775"/>
                  <a:gd name="connsiteX30" fmla="*/ 123825 w 419100"/>
                  <a:gd name="connsiteY30" fmla="*/ 210150 h 257775"/>
                  <a:gd name="connsiteX31" fmla="*/ 95250 w 419100"/>
                  <a:gd name="connsiteY31" fmla="*/ 238725 h 257775"/>
                  <a:gd name="connsiteX32" fmla="*/ 95250 w 419100"/>
                  <a:gd name="connsiteY32" fmla="*/ 162525 h 257775"/>
                  <a:gd name="connsiteX33" fmla="*/ 48758 w 419100"/>
                  <a:gd name="connsiteY33" fmla="*/ 200035 h 257775"/>
                  <a:gd name="connsiteX34" fmla="*/ 19050 w 419100"/>
                  <a:gd name="connsiteY34" fmla="*/ 200035 h 257775"/>
                  <a:gd name="connsiteX35" fmla="*/ 19050 w 419100"/>
                  <a:gd name="connsiteY35" fmla="*/ 19060 h 257775"/>
                  <a:gd name="connsiteX36" fmla="*/ 247650 w 419100"/>
                  <a:gd name="connsiteY36" fmla="*/ 19060 h 257775"/>
                  <a:gd name="connsiteX37" fmla="*/ 247650 w 419100"/>
                  <a:gd name="connsiteY37" fmla="*/ 47635 h 257775"/>
                  <a:gd name="connsiteX38" fmla="*/ 247650 w 419100"/>
                  <a:gd name="connsiteY38" fmla="*/ 123835 h 257775"/>
                  <a:gd name="connsiteX39" fmla="*/ 247650 w 419100"/>
                  <a:gd name="connsiteY39" fmla="*/ 200035 h 257775"/>
                  <a:gd name="connsiteX40" fmla="*/ 141742 w 419100"/>
                  <a:gd name="connsiteY40" fmla="*/ 200035 h 257775"/>
                  <a:gd name="connsiteX41" fmla="*/ 95250 w 419100"/>
                  <a:gd name="connsiteY41" fmla="*/ 162525 h 257775"/>
                  <a:gd name="connsiteX42" fmla="*/ 333375 w 419100"/>
                  <a:gd name="connsiteY42" fmla="*/ 238725 h 257775"/>
                  <a:gd name="connsiteX43" fmla="*/ 304800 w 419100"/>
                  <a:gd name="connsiteY43" fmla="*/ 210150 h 257775"/>
                  <a:gd name="connsiteX44" fmla="*/ 333375 w 419100"/>
                  <a:gd name="connsiteY44" fmla="*/ 181575 h 257775"/>
                  <a:gd name="connsiteX45" fmla="*/ 361950 w 419100"/>
                  <a:gd name="connsiteY45" fmla="*/ 210150 h 257775"/>
                  <a:gd name="connsiteX46" fmla="*/ 333375 w 419100"/>
                  <a:gd name="connsiteY46" fmla="*/ 238725 h 257775"/>
                  <a:gd name="connsiteX47" fmla="*/ 400050 w 419100"/>
                  <a:gd name="connsiteY47" fmla="*/ 200025 h 257775"/>
                  <a:gd name="connsiteX48" fmla="*/ 379867 w 419100"/>
                  <a:gd name="connsiteY48" fmla="*/ 200025 h 257775"/>
                  <a:gd name="connsiteX49" fmla="*/ 333375 w 419100"/>
                  <a:gd name="connsiteY49" fmla="*/ 162525 h 257775"/>
                  <a:gd name="connsiteX50" fmla="*/ 286883 w 419100"/>
                  <a:gd name="connsiteY50" fmla="*/ 200035 h 257775"/>
                  <a:gd name="connsiteX51" fmla="*/ 266700 w 419100"/>
                  <a:gd name="connsiteY51" fmla="*/ 200035 h 257775"/>
                  <a:gd name="connsiteX52" fmla="*/ 266700 w 419100"/>
                  <a:gd name="connsiteY52" fmla="*/ 133360 h 257775"/>
                  <a:gd name="connsiteX53" fmla="*/ 400050 w 419100"/>
                  <a:gd name="connsiteY53" fmla="*/ 133360 h 257775"/>
                  <a:gd name="connsiteX54" fmla="*/ 400050 w 419100"/>
                  <a:gd name="connsiteY54" fmla="*/ 200025 h 25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419100" h="257775">
                    <a:moveTo>
                      <a:pt x="409575" y="114300"/>
                    </a:moveTo>
                    <a:lnTo>
                      <a:pt x="360836" y="114300"/>
                    </a:lnTo>
                    <a:lnTo>
                      <a:pt x="352349" y="46444"/>
                    </a:lnTo>
                    <a:lnTo>
                      <a:pt x="342900" y="38100"/>
                    </a:lnTo>
                    <a:lnTo>
                      <a:pt x="266700" y="38100"/>
                    </a:lnTo>
                    <a:lnTo>
                      <a:pt x="266700" y="9525"/>
                    </a:lnTo>
                    <a:lnTo>
                      <a:pt x="257175" y="0"/>
                    </a:lnTo>
                    <a:lnTo>
                      <a:pt x="9525" y="0"/>
                    </a:lnTo>
                    <a:lnTo>
                      <a:pt x="0" y="9525"/>
                    </a:lnTo>
                    <a:lnTo>
                      <a:pt x="0" y="209550"/>
                    </a:lnTo>
                    <a:lnTo>
                      <a:pt x="9525" y="219075"/>
                    </a:lnTo>
                    <a:lnTo>
                      <a:pt x="48530" y="219075"/>
                    </a:lnTo>
                    <a:cubicBezTo>
                      <a:pt x="52730" y="241078"/>
                      <a:pt x="72047" y="257775"/>
                      <a:pt x="95250" y="257775"/>
                    </a:cubicBezTo>
                    <a:cubicBezTo>
                      <a:pt x="118453" y="257775"/>
                      <a:pt x="137770" y="241078"/>
                      <a:pt x="141970" y="219075"/>
                    </a:cubicBezTo>
                    <a:lnTo>
                      <a:pt x="257175" y="219075"/>
                    </a:lnTo>
                    <a:lnTo>
                      <a:pt x="286655" y="219075"/>
                    </a:lnTo>
                    <a:cubicBezTo>
                      <a:pt x="290855" y="241078"/>
                      <a:pt x="310172" y="257775"/>
                      <a:pt x="333375" y="257775"/>
                    </a:cubicBezTo>
                    <a:cubicBezTo>
                      <a:pt x="356578" y="257775"/>
                      <a:pt x="375895" y="241078"/>
                      <a:pt x="380095" y="219075"/>
                    </a:cubicBezTo>
                    <a:lnTo>
                      <a:pt x="409575" y="219075"/>
                    </a:lnTo>
                    <a:lnTo>
                      <a:pt x="419100" y="209550"/>
                    </a:lnTo>
                    <a:lnTo>
                      <a:pt x="419100" y="123825"/>
                    </a:lnTo>
                    <a:lnTo>
                      <a:pt x="409575" y="114300"/>
                    </a:lnTo>
                    <a:close/>
                    <a:moveTo>
                      <a:pt x="334489" y="57150"/>
                    </a:moveTo>
                    <a:lnTo>
                      <a:pt x="341633" y="114300"/>
                    </a:lnTo>
                    <a:lnTo>
                      <a:pt x="266700" y="114300"/>
                    </a:lnTo>
                    <a:lnTo>
                      <a:pt x="266700" y="57150"/>
                    </a:lnTo>
                    <a:lnTo>
                      <a:pt x="334489" y="57150"/>
                    </a:lnTo>
                    <a:close/>
                    <a:moveTo>
                      <a:pt x="95250" y="238725"/>
                    </a:moveTo>
                    <a:cubicBezTo>
                      <a:pt x="79496" y="238725"/>
                      <a:pt x="66675" y="225904"/>
                      <a:pt x="66675" y="210150"/>
                    </a:cubicBezTo>
                    <a:cubicBezTo>
                      <a:pt x="66675" y="194396"/>
                      <a:pt x="79496" y="181575"/>
                      <a:pt x="95250" y="181575"/>
                    </a:cubicBezTo>
                    <a:cubicBezTo>
                      <a:pt x="111004" y="181575"/>
                      <a:pt x="123825" y="194396"/>
                      <a:pt x="123825" y="210150"/>
                    </a:cubicBezTo>
                    <a:cubicBezTo>
                      <a:pt x="123825" y="225904"/>
                      <a:pt x="111004" y="238725"/>
                      <a:pt x="95250" y="238725"/>
                    </a:cubicBezTo>
                    <a:close/>
                    <a:moveTo>
                      <a:pt x="95250" y="162525"/>
                    </a:moveTo>
                    <a:cubicBezTo>
                      <a:pt x="72466" y="162525"/>
                      <a:pt x="53426" y="178622"/>
                      <a:pt x="48758" y="200035"/>
                    </a:cubicBezTo>
                    <a:lnTo>
                      <a:pt x="19050" y="200035"/>
                    </a:lnTo>
                    <a:lnTo>
                      <a:pt x="19050" y="19060"/>
                    </a:lnTo>
                    <a:lnTo>
                      <a:pt x="247650" y="19060"/>
                    </a:lnTo>
                    <a:lnTo>
                      <a:pt x="247650" y="47635"/>
                    </a:lnTo>
                    <a:lnTo>
                      <a:pt x="247650" y="123835"/>
                    </a:lnTo>
                    <a:lnTo>
                      <a:pt x="247650" y="200035"/>
                    </a:lnTo>
                    <a:lnTo>
                      <a:pt x="141742" y="200035"/>
                    </a:lnTo>
                    <a:cubicBezTo>
                      <a:pt x="137074" y="178622"/>
                      <a:pt x="118034" y="162525"/>
                      <a:pt x="95250" y="162525"/>
                    </a:cubicBezTo>
                    <a:close/>
                    <a:moveTo>
                      <a:pt x="333375" y="238725"/>
                    </a:moveTo>
                    <a:cubicBezTo>
                      <a:pt x="317621" y="238725"/>
                      <a:pt x="304800" y="225904"/>
                      <a:pt x="304800" y="210150"/>
                    </a:cubicBezTo>
                    <a:cubicBezTo>
                      <a:pt x="304800" y="194396"/>
                      <a:pt x="317621" y="181575"/>
                      <a:pt x="333375" y="181575"/>
                    </a:cubicBezTo>
                    <a:cubicBezTo>
                      <a:pt x="349129" y="181575"/>
                      <a:pt x="361950" y="194396"/>
                      <a:pt x="361950" y="210150"/>
                    </a:cubicBezTo>
                    <a:cubicBezTo>
                      <a:pt x="361950" y="225904"/>
                      <a:pt x="349129" y="238725"/>
                      <a:pt x="333375" y="238725"/>
                    </a:cubicBezTo>
                    <a:close/>
                    <a:moveTo>
                      <a:pt x="400050" y="200025"/>
                    </a:moveTo>
                    <a:lnTo>
                      <a:pt x="379867" y="200025"/>
                    </a:lnTo>
                    <a:cubicBezTo>
                      <a:pt x="375199" y="178622"/>
                      <a:pt x="356159" y="162525"/>
                      <a:pt x="333375" y="162525"/>
                    </a:cubicBezTo>
                    <a:cubicBezTo>
                      <a:pt x="310591" y="162525"/>
                      <a:pt x="291551" y="178622"/>
                      <a:pt x="286883" y="200035"/>
                    </a:cubicBezTo>
                    <a:lnTo>
                      <a:pt x="266700" y="200035"/>
                    </a:lnTo>
                    <a:lnTo>
                      <a:pt x="266700" y="133360"/>
                    </a:lnTo>
                    <a:lnTo>
                      <a:pt x="400050" y="133360"/>
                    </a:lnTo>
                    <a:lnTo>
                      <a:pt x="400050" y="20002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 dirty="0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66343C95-68CD-894A-E0FB-AC8617966A7A}"/>
                </a:ext>
              </a:extLst>
            </p:cNvPr>
            <p:cNvGrpSpPr/>
            <p:nvPr/>
          </p:nvGrpSpPr>
          <p:grpSpPr>
            <a:xfrm>
              <a:off x="5474680" y="5382430"/>
              <a:ext cx="1074787" cy="1074786"/>
              <a:chOff x="3481089" y="5565269"/>
              <a:chExt cx="697204" cy="697203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2DB7121F-A90C-F889-3F61-CA8FF9910BB4}"/>
                  </a:ext>
                </a:extLst>
              </p:cNvPr>
              <p:cNvSpPr/>
              <p:nvPr/>
            </p:nvSpPr>
            <p:spPr bwMode="gray">
              <a:xfrm rot="19821161">
                <a:off x="3481089" y="5565269"/>
                <a:ext cx="697204" cy="697203"/>
              </a:xfrm>
              <a:prstGeom prst="ellipse">
                <a:avLst/>
              </a:prstGeom>
              <a:solidFill>
                <a:schemeClr val="bg2"/>
              </a:solidFill>
              <a:ln w="635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CE4457C9-8E4F-0C72-0F6E-5CF0A9B3AB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3631609" y="5711770"/>
                <a:ext cx="441859" cy="441858"/>
              </a:xfrm>
              <a:prstGeom prst="rect">
                <a:avLst/>
              </a:prstGeom>
            </p:spPr>
          </p:pic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D4830FF6-E93D-F6E9-D740-5697BDC7ECD0}"/>
                </a:ext>
              </a:extLst>
            </p:cNvPr>
            <p:cNvGrpSpPr/>
            <p:nvPr/>
          </p:nvGrpSpPr>
          <p:grpSpPr>
            <a:xfrm>
              <a:off x="3280068" y="4536927"/>
              <a:ext cx="1074787" cy="1074784"/>
              <a:chOff x="1694505" y="5016743"/>
              <a:chExt cx="697204" cy="697202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AD6808C0-9F90-27D4-257C-F40C61FA0A9E}"/>
                  </a:ext>
                </a:extLst>
              </p:cNvPr>
              <p:cNvSpPr/>
              <p:nvPr/>
            </p:nvSpPr>
            <p:spPr bwMode="gray">
              <a:xfrm>
                <a:off x="1694505" y="5016743"/>
                <a:ext cx="697204" cy="697202"/>
              </a:xfrm>
              <a:prstGeom prst="ellipse">
                <a:avLst/>
              </a:prstGeom>
              <a:solidFill>
                <a:schemeClr val="bg2"/>
              </a:solidFill>
              <a:ln w="635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l">
                  <a:spcBef>
                    <a:spcPts val="600"/>
                  </a:spcBef>
                </a:pP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60" name="Graphic 59">
                <a:extLst>
                  <a:ext uri="{FF2B5EF4-FFF2-40B4-BE49-F238E27FC236}">
                    <a16:creationId xmlns:a16="http://schemas.microsoft.com/office/drawing/2014/main" id="{3ED9C78A-5B1B-46C5-68AB-6EDB5D57E8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853081" y="5134895"/>
                <a:ext cx="400349" cy="400349"/>
              </a:xfrm>
              <a:prstGeom prst="rect">
                <a:avLst/>
              </a:prstGeom>
            </p:spPr>
          </p:pic>
        </p:grpSp>
      </p:grp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43F90A2-E02C-DBA7-97A4-9599A5F017FA}"/>
              </a:ext>
            </a:extLst>
          </p:cNvPr>
          <p:cNvSpPr txBox="1">
            <a:spLocks/>
          </p:cNvSpPr>
          <p:nvPr/>
        </p:nvSpPr>
        <p:spPr bwMode="gray">
          <a:xfrm>
            <a:off x="1628715" y="4644113"/>
            <a:ext cx="4984635" cy="7482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+2,800</a:t>
            </a:r>
            <a:endParaRPr lang="en-US" sz="1800" b="1" dirty="0"/>
          </a:p>
          <a:p>
            <a:pPr>
              <a:spcBef>
                <a:spcPts val="0"/>
              </a:spcBef>
            </a:pP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egional distribution </a:t>
            </a:r>
            <a:b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lang="en-US" sz="16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partners</a:t>
            </a:r>
          </a:p>
        </p:txBody>
      </p:sp>
      <p:sp>
        <p:nvSpPr>
          <p:cNvPr id="21" name="Date Placeholder 2">
            <a:extLst>
              <a:ext uri="{FF2B5EF4-FFF2-40B4-BE49-F238E27FC236}">
                <a16:creationId xmlns:a16="http://schemas.microsoft.com/office/drawing/2014/main" id="{47F26AAD-2D18-6D54-5128-6AF9369D2D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85EF74E1-0C60-8E66-6F76-EF12723807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lvl9pPr>
              <a:defRPr sz="800"/>
            </a:lvl9pPr>
          </a:lstStyle>
          <a:p>
            <a:pPr lvl="8"/>
            <a:r>
              <a:rPr lang="en-US" dirty="0"/>
              <a:t> 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5749FF5F-F21A-4087-8BCF-33D31EAE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75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DC8F7AD-A8E3-4AB0-E83F-F85416A6BCB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0" t="-48" r="49430" b="48"/>
          <a:stretch/>
        </p:blipFill>
        <p:spPr>
          <a:xfrm flipH="1">
            <a:off x="6024562" y="0"/>
            <a:ext cx="6167436" cy="6858000"/>
          </a:xfrm>
        </p:spPr>
      </p:pic>
      <p:pic>
        <p:nvPicPr>
          <p:cNvPr id="1026" name="Picture 2" descr="Aucune description de photo disponible.">
            <a:extLst>
              <a:ext uri="{FF2B5EF4-FFF2-40B4-BE49-F238E27FC236}">
                <a16:creationId xmlns:a16="http://schemas.microsoft.com/office/drawing/2014/main" id="{AE85BB6B-DF43-B289-8EC2-BE239E8D44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0" r="11707"/>
          <a:stretch/>
        </p:blipFill>
        <p:spPr bwMode="auto">
          <a:xfrm>
            <a:off x="1" y="0"/>
            <a:ext cx="1219199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5932A9-DE96-2BEA-7327-0F14F1F81777}"/>
              </a:ext>
            </a:extLst>
          </p:cNvPr>
          <p:cNvSpPr/>
          <p:nvPr/>
        </p:nvSpPr>
        <p:spPr bwMode="gray">
          <a:xfrm>
            <a:off x="0" y="1"/>
            <a:ext cx="6167436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C11BA9F-20EE-1BA2-5987-42F1184407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0350"/>
            <a:ext cx="4968875" cy="1008063"/>
          </a:xfrm>
        </p:spPr>
        <p:txBody>
          <a:bodyPr/>
          <a:lstStyle/>
          <a:p>
            <a:r>
              <a:rPr lang="en-US" sz="2800" b="1">
                <a:solidFill>
                  <a:schemeClr val="bg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—</a:t>
            </a:r>
            <a:br>
              <a:rPr lang="en-US" sz="2800" b="1">
                <a:solidFill>
                  <a:schemeClr val="bg1"/>
                </a:solidFill>
              </a:rPr>
            </a:br>
            <a:r>
              <a:rPr lang="en-US" sz="2800" b="1"/>
              <a:t>Electrification in Canada</a:t>
            </a:r>
            <a:br>
              <a:rPr lang="en-US" sz="2800" b="1">
                <a:solidFill>
                  <a:schemeClr val="bg1"/>
                </a:solidFill>
              </a:rPr>
            </a:br>
            <a:endParaRPr lang="en-US" sz="2800" b="1">
              <a:solidFill>
                <a:schemeClr val="bg1"/>
              </a:solidFill>
            </a:endParaRPr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78234E20-8E52-21A1-3414-71C74748C59E}"/>
              </a:ext>
            </a:extLst>
          </p:cNvPr>
          <p:cNvSpPr txBox="1">
            <a:spLocks/>
          </p:cNvSpPr>
          <p:nvPr/>
        </p:nvSpPr>
        <p:spPr bwMode="gray">
          <a:xfrm>
            <a:off x="407988" y="1339767"/>
            <a:ext cx="5616575" cy="4450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sz="1800" dirty="0"/>
              <a:t>Electrifying the world in a safe, smart and sustainable way, ABB Electrification in Canada is a  technology leader in electrical distribution and management from source to socket. </a:t>
            </a:r>
          </a:p>
          <a:p>
            <a:pPr>
              <a:spcBef>
                <a:spcPts val="300"/>
              </a:spcBef>
            </a:pPr>
            <a:br>
              <a:rPr lang="en-US" sz="1800" dirty="0"/>
            </a:br>
            <a:r>
              <a:rPr lang="en-US" sz="1800" dirty="0"/>
              <a:t>As the world’s demand for electricity grows, our 1,900 employees across the country collaborate with customers and partners to transform how people connect, live and work. </a:t>
            </a:r>
          </a:p>
          <a:p>
            <a:pPr>
              <a:spcBef>
                <a:spcPts val="300"/>
              </a:spcBef>
            </a:pPr>
            <a:endParaRPr lang="en-US" sz="1800" dirty="0"/>
          </a:p>
          <a:p>
            <a:pPr>
              <a:spcBef>
                <a:spcPts val="300"/>
              </a:spcBef>
            </a:pPr>
            <a:r>
              <a:rPr lang="en-US" sz="1800" dirty="0"/>
              <a:t>We develop innovative products, solutions and digital technologies that enable energy efficiency and a low carbon society across all sectors. </a:t>
            </a:r>
          </a:p>
          <a:p>
            <a:pPr>
              <a:spcBef>
                <a:spcPts val="300"/>
              </a:spcBef>
            </a:pPr>
            <a:endParaRPr lang="en-US" sz="1800" dirty="0"/>
          </a:p>
          <a:p>
            <a:pPr>
              <a:spcBef>
                <a:spcPts val="300"/>
              </a:spcBef>
            </a:pPr>
            <a:r>
              <a:rPr lang="en-US" sz="1800" dirty="0"/>
              <a:t>By applying global scale with local expertise, we shape and support global trends, deliver excellence for customers and power a sustainable future for society. </a:t>
            </a:r>
          </a:p>
          <a:p>
            <a:pPr>
              <a:spcBef>
                <a:spcPts val="300"/>
              </a:spcBef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540648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4ED0C28F-3805-9C72-2EEA-2E03C9337554}"/>
              </a:ext>
            </a:extLst>
          </p:cNvPr>
          <p:cNvCxnSpPr>
            <a:cxnSpLocks/>
          </p:cNvCxnSpPr>
          <p:nvPr/>
        </p:nvCxnSpPr>
        <p:spPr bwMode="gray">
          <a:xfrm>
            <a:off x="7987" y="4230666"/>
            <a:ext cx="12184013" cy="0"/>
          </a:xfrm>
          <a:prstGeom prst="line">
            <a:avLst/>
          </a:prstGeom>
          <a:ln w="1270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itle 69">
            <a:extLst>
              <a:ext uri="{FF2B5EF4-FFF2-40B4-BE49-F238E27FC236}">
                <a16:creationId xmlns:a16="http://schemas.microsoft.com/office/drawing/2014/main" id="{E6C6C579-7599-CAB8-FAE3-99D8D1B3B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264" y="682313"/>
            <a:ext cx="11520000" cy="396000"/>
          </a:xfrm>
        </p:spPr>
        <p:txBody>
          <a:bodyPr/>
          <a:lstStyle/>
          <a:p>
            <a:r>
              <a:rPr lang="en-US" noProof="0" dirty="0"/>
              <a:t>Electrification’s five divisions</a:t>
            </a:r>
            <a:endParaRPr lang="en-US" dirty="0"/>
          </a:p>
        </p:txBody>
      </p:sp>
      <p:sp>
        <p:nvSpPr>
          <p:cNvPr id="120" name="Text Placeholder 119">
            <a:extLst>
              <a:ext uri="{FF2B5EF4-FFF2-40B4-BE49-F238E27FC236}">
                <a16:creationId xmlns:a16="http://schemas.microsoft.com/office/drawing/2014/main" id="{9F8CE9F1-3D42-E71D-06AF-B2AED325776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32367" y="1085213"/>
            <a:ext cx="11520898" cy="504000"/>
          </a:xfrm>
        </p:spPr>
        <p:txBody>
          <a:bodyPr/>
          <a:lstStyle/>
          <a:p>
            <a:r>
              <a:rPr lang="en-US" noProof="0" dirty="0"/>
              <a:t>Helping to solve our customers biggest cross-industry challenges</a:t>
            </a:r>
            <a:endParaRPr lang="en-US" dirty="0"/>
          </a:p>
        </p:txBody>
      </p:sp>
      <p:sp>
        <p:nvSpPr>
          <p:cNvPr id="72" name="Text Placeholder 19">
            <a:extLst>
              <a:ext uri="{FF2B5EF4-FFF2-40B4-BE49-F238E27FC236}">
                <a16:creationId xmlns:a16="http://schemas.microsoft.com/office/drawing/2014/main" id="{405567E5-B339-7FB4-A160-6ACC39C938E5}"/>
              </a:ext>
            </a:extLst>
          </p:cNvPr>
          <p:cNvSpPr txBox="1">
            <a:spLocks/>
          </p:cNvSpPr>
          <p:nvPr/>
        </p:nvSpPr>
        <p:spPr bwMode="gray">
          <a:xfrm>
            <a:off x="331788" y="3715801"/>
            <a:ext cx="2157271" cy="5570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sz="1200" b="1" cap="all" spc="200" dirty="0">
                <a:latin typeface="ABBvoice"/>
                <a:ea typeface="ABBvoice"/>
                <a:cs typeface="ABBvoice"/>
              </a:rPr>
              <a:t>DISTRIBUTION</a:t>
            </a:r>
            <a:br>
              <a:rPr lang="en-US" sz="1200" b="1" cap="all" spc="200" dirty="0">
                <a:latin typeface="ABBvoice"/>
                <a:ea typeface="ABBvoice"/>
                <a:cs typeface="ABBvoice"/>
              </a:rPr>
            </a:br>
            <a:r>
              <a:rPr lang="en-US" sz="1200" b="1" cap="all" spc="200" dirty="0">
                <a:latin typeface="ABBvoice"/>
                <a:ea typeface="ABBvoice"/>
                <a:cs typeface="ABBvoice"/>
              </a:rPr>
              <a:t>SOLUTIONS</a:t>
            </a:r>
          </a:p>
        </p:txBody>
      </p:sp>
      <p:sp>
        <p:nvSpPr>
          <p:cNvPr id="73" name="Text Placeholder 19">
            <a:extLst>
              <a:ext uri="{FF2B5EF4-FFF2-40B4-BE49-F238E27FC236}">
                <a16:creationId xmlns:a16="http://schemas.microsoft.com/office/drawing/2014/main" id="{BFEAC072-2958-35B3-A493-889BD020279A}"/>
              </a:ext>
            </a:extLst>
          </p:cNvPr>
          <p:cNvSpPr txBox="1">
            <a:spLocks/>
          </p:cNvSpPr>
          <p:nvPr/>
        </p:nvSpPr>
        <p:spPr bwMode="gray">
          <a:xfrm>
            <a:off x="331788" y="4493683"/>
            <a:ext cx="2101543" cy="21280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Segment specific medium-voltage switchgear and components as well as solutions that protect, control and facilitate efficient and reliable distribution of electric power strengthening the resilience of the grid.</a:t>
            </a:r>
          </a:p>
        </p:txBody>
      </p:sp>
      <p:sp>
        <p:nvSpPr>
          <p:cNvPr id="74" name="Text Placeholder 19">
            <a:extLst>
              <a:ext uri="{FF2B5EF4-FFF2-40B4-BE49-F238E27FC236}">
                <a16:creationId xmlns:a16="http://schemas.microsoft.com/office/drawing/2014/main" id="{BBEB0807-1B93-549C-1FDE-A1DDA92A9C05}"/>
              </a:ext>
            </a:extLst>
          </p:cNvPr>
          <p:cNvSpPr txBox="1">
            <a:spLocks/>
          </p:cNvSpPr>
          <p:nvPr/>
        </p:nvSpPr>
        <p:spPr bwMode="gray">
          <a:xfrm>
            <a:off x="7509888" y="4493683"/>
            <a:ext cx="1939723" cy="165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Components to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safely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connect and protect in Electrification, including connectors and terminals, cable management and protection, switchgear reclosers and accessories.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3421BA13-AF68-55F0-ABA0-E03780219908}"/>
              </a:ext>
            </a:extLst>
          </p:cNvPr>
          <p:cNvSpPr/>
          <p:nvPr/>
        </p:nvSpPr>
        <p:spPr bwMode="gray">
          <a:xfrm>
            <a:off x="331788" y="4183789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77" name="Text Placeholder 19">
            <a:extLst>
              <a:ext uri="{FF2B5EF4-FFF2-40B4-BE49-F238E27FC236}">
                <a16:creationId xmlns:a16="http://schemas.microsoft.com/office/drawing/2014/main" id="{BE676691-326F-7B6C-A90B-4BE8FD37FDAB}"/>
              </a:ext>
            </a:extLst>
          </p:cNvPr>
          <p:cNvSpPr txBox="1">
            <a:spLocks/>
          </p:cNvSpPr>
          <p:nvPr/>
        </p:nvSpPr>
        <p:spPr bwMode="gray">
          <a:xfrm>
            <a:off x="9902589" y="3903232"/>
            <a:ext cx="1537853" cy="4664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indent="0">
              <a:spcBef>
                <a:spcPts val="600"/>
              </a:spcBef>
              <a:buFont typeface="Arial" panose="020B0604020202020204" pitchFamily="34" charset="0"/>
              <a:buNone/>
              <a:defRPr sz="1200" b="1" cap="all" spc="200">
                <a:latin typeface="ABBvoice"/>
                <a:ea typeface="ABBvoice"/>
                <a:cs typeface="ABBvoice"/>
              </a:defRPr>
            </a:lvl1pPr>
            <a:lvl2pPr marL="180018" indent="-180018" defTabSz="914491">
              <a:spcBef>
                <a:spcPts val="600"/>
              </a:spcBef>
              <a:buFont typeface="ABBvoiceOffice" panose="020D0603020503020204" pitchFamily="34" charset="0"/>
              <a:buChar char="–"/>
              <a:defRPr sz="1400"/>
            </a:lvl2pPr>
            <a:lvl3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3pPr>
            <a:lvl4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4pPr>
            <a:lvl5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5pPr>
            <a:lvl6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6pPr>
            <a:lvl7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7pPr>
            <a:lvl8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8pPr>
            <a:lvl9pPr marL="360036" indent="-180018" defTabSz="914491">
              <a:spcBef>
                <a:spcPts val="6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r>
              <a:rPr lang="en-US" dirty="0"/>
              <a:t>SERVICE</a:t>
            </a: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78" name="Text Placeholder 19">
            <a:extLst>
              <a:ext uri="{FF2B5EF4-FFF2-40B4-BE49-F238E27FC236}">
                <a16:creationId xmlns:a16="http://schemas.microsoft.com/office/drawing/2014/main" id="{5AB6A6C0-AC4E-7A4B-ADF0-0DF79F181FD6}"/>
              </a:ext>
            </a:extLst>
          </p:cNvPr>
          <p:cNvSpPr txBox="1">
            <a:spLocks/>
          </p:cNvSpPr>
          <p:nvPr/>
        </p:nvSpPr>
        <p:spPr bwMode="gray">
          <a:xfrm>
            <a:off x="9902589" y="4493683"/>
            <a:ext cx="1939723" cy="165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Extensive portfolio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of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services and technology for low- and medium-voltage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products and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networks to improve reliability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, availability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, predictability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</a:b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and sustainability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 of electrical systems.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03888BDC-028A-08E4-1DE2-CC05A77344A6}"/>
              </a:ext>
            </a:extLst>
          </p:cNvPr>
          <p:cNvSpPr/>
          <p:nvPr/>
        </p:nvSpPr>
        <p:spPr bwMode="gray">
          <a:xfrm>
            <a:off x="9902589" y="4183789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CF0E1AE1-5AB9-4003-EA74-4B002DCCE7E7}"/>
              </a:ext>
            </a:extLst>
          </p:cNvPr>
          <p:cNvSpPr/>
          <p:nvPr/>
        </p:nvSpPr>
        <p:spPr bwMode="gray">
          <a:xfrm>
            <a:off x="5117188" y="4183789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A8AD09F3-A9EC-D9B3-EDB9-BB54CC0B06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78" b="17878"/>
          <a:stretch/>
        </p:blipFill>
        <p:spPr>
          <a:xfrm>
            <a:off x="2417475" y="1935385"/>
            <a:ext cx="2409506" cy="1492194"/>
          </a:xfrm>
          <a:prstGeom prst="rect">
            <a:avLst/>
          </a:prstGeom>
        </p:spPr>
      </p:pic>
      <p:sp>
        <p:nvSpPr>
          <p:cNvPr id="82" name="Text Placeholder 19">
            <a:extLst>
              <a:ext uri="{FF2B5EF4-FFF2-40B4-BE49-F238E27FC236}">
                <a16:creationId xmlns:a16="http://schemas.microsoft.com/office/drawing/2014/main" id="{A967C96E-79C2-2313-5F12-8A9CD6DB60D7}"/>
              </a:ext>
            </a:extLst>
          </p:cNvPr>
          <p:cNvSpPr txBox="1">
            <a:spLocks/>
          </p:cNvSpPr>
          <p:nvPr/>
        </p:nvSpPr>
        <p:spPr bwMode="gray">
          <a:xfrm>
            <a:off x="2720534" y="3632308"/>
            <a:ext cx="1939724" cy="43328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lnSpc>
                <a:spcPct val="298507"/>
              </a:lnSpc>
              <a:spcBef>
                <a:spcPts val="0"/>
              </a:spcBef>
              <a:defRPr/>
            </a:pPr>
            <a:r>
              <a:rPr lang="en-US" sz="1200" b="1" cap="all" spc="200" dirty="0">
                <a:latin typeface="ABBvoice"/>
                <a:ea typeface="ABBvoice"/>
                <a:cs typeface="ABBvoice"/>
              </a:rPr>
              <a:t>SMART POWER</a:t>
            </a:r>
            <a:endParaRPr lang="en-US" dirty="0"/>
          </a:p>
        </p:txBody>
      </p:sp>
      <p:sp>
        <p:nvSpPr>
          <p:cNvPr id="83" name="Text Placeholder 19">
            <a:extLst>
              <a:ext uri="{FF2B5EF4-FFF2-40B4-BE49-F238E27FC236}">
                <a16:creationId xmlns:a16="http://schemas.microsoft.com/office/drawing/2014/main" id="{7924BD76-4F58-8EC8-4139-B6330C559A60}"/>
              </a:ext>
            </a:extLst>
          </p:cNvPr>
          <p:cNvSpPr txBox="1">
            <a:spLocks/>
          </p:cNvSpPr>
          <p:nvPr/>
        </p:nvSpPr>
        <p:spPr bwMode="gray">
          <a:xfrm>
            <a:off x="2720534" y="4493683"/>
            <a:ext cx="1939723" cy="165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Energy distribution solutions </a:t>
            </a:r>
            <a:b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</a:b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that include the ABB Ability</a:t>
            </a:r>
            <a:r>
              <a:rPr lang="en-US" sz="1000" baseline="30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™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 </a:t>
            </a:r>
            <a:b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</a:b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Energy Manag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industrial breaker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UPS solution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, motor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 starting applications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"/>
                <a:cs typeface="ABBvoice"/>
              </a:rPr>
              <a:t>, </a:t>
            </a:r>
            <a:r>
              <a:rPr lang="en-US" sz="1000" dirty="0">
                <a:solidFill>
                  <a:srgbClr val="000000"/>
                </a:solidFill>
                <a:latin typeface="ABBvoice"/>
                <a:ea typeface="ABBvoice"/>
                <a:cs typeface="ABBvoice"/>
              </a:rPr>
              <a:t>and essential safety devices such as switches and relays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7653D602-1DDB-1209-AF1E-925D6A0C9C6C}"/>
              </a:ext>
            </a:extLst>
          </p:cNvPr>
          <p:cNvSpPr/>
          <p:nvPr/>
        </p:nvSpPr>
        <p:spPr bwMode="gray">
          <a:xfrm>
            <a:off x="7509888" y="4183789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85" name="Text Placeholder 19">
            <a:extLst>
              <a:ext uri="{FF2B5EF4-FFF2-40B4-BE49-F238E27FC236}">
                <a16:creationId xmlns:a16="http://schemas.microsoft.com/office/drawing/2014/main" id="{E4A59357-4BB0-6141-070E-BC1C7DE9222F}"/>
              </a:ext>
            </a:extLst>
          </p:cNvPr>
          <p:cNvSpPr txBox="1">
            <a:spLocks/>
          </p:cNvSpPr>
          <p:nvPr/>
        </p:nvSpPr>
        <p:spPr bwMode="gray">
          <a:xfrm>
            <a:off x="5117307" y="3628679"/>
            <a:ext cx="2418117" cy="5570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fontAlgn="auto">
              <a:lnSpc>
                <a:spcPct val="298507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b="1" cap="all" spc="200" dirty="0">
                <a:latin typeface="ABBvoice"/>
                <a:ea typeface="ABBvoice"/>
                <a:cs typeface="ABBvoice"/>
              </a:rPr>
              <a:t>SMART BUILDINGS</a:t>
            </a:r>
            <a:endParaRPr lang="en-US" dirty="0"/>
          </a:p>
        </p:txBody>
      </p:sp>
      <p:sp>
        <p:nvSpPr>
          <p:cNvPr id="86" name="Text Placeholder 19">
            <a:extLst>
              <a:ext uri="{FF2B5EF4-FFF2-40B4-BE49-F238E27FC236}">
                <a16:creationId xmlns:a16="http://schemas.microsoft.com/office/drawing/2014/main" id="{31E0EBF8-0E90-2AF6-7369-F48DBE8B4032}"/>
              </a:ext>
            </a:extLst>
          </p:cNvPr>
          <p:cNvSpPr txBox="1">
            <a:spLocks/>
          </p:cNvSpPr>
          <p:nvPr/>
        </p:nvSpPr>
        <p:spPr bwMode="gray">
          <a:xfrm>
            <a:off x="5168366" y="4493683"/>
            <a:ext cx="2007947" cy="165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 dirty="0">
                <a:latin typeface="ABBvoice"/>
                <a:ea typeface="ABBvoice"/>
                <a:cs typeface="ABBvoice"/>
              </a:rPr>
              <a:t>Energy distribution and home and building automation products and solutions, energy management and metering solutions, modular DIN-rail devices, distribution enclosures, wiring accessories.</a:t>
            </a:r>
            <a:endParaRPr lang="en-US" sz="1000" dirty="0">
              <a:solidFill>
                <a:schemeClr val="accent4"/>
              </a:solidFill>
              <a:latin typeface="ABBvoice"/>
              <a:ea typeface="ABBvoice"/>
              <a:cs typeface="ABBvoice"/>
            </a:endParaRP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31E5E9F9-FAD6-9C42-14D1-B10E7647C735}"/>
              </a:ext>
            </a:extLst>
          </p:cNvPr>
          <p:cNvSpPr/>
          <p:nvPr/>
        </p:nvSpPr>
        <p:spPr bwMode="gray">
          <a:xfrm>
            <a:off x="2720534" y="4177720"/>
            <a:ext cx="93755" cy="93755"/>
          </a:xfrm>
          <a:prstGeom prst="ellipse">
            <a:avLst/>
          </a:prstGeom>
          <a:solidFill>
            <a:schemeClr val="bg2"/>
          </a:solidFill>
          <a:ln w="63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"/>
              <a:cs typeface="ABBvoice"/>
            </a:endParaRPr>
          </a:p>
        </p:txBody>
      </p:sp>
      <p:sp>
        <p:nvSpPr>
          <p:cNvPr id="113" name="Text Placeholder 19">
            <a:extLst>
              <a:ext uri="{FF2B5EF4-FFF2-40B4-BE49-F238E27FC236}">
                <a16:creationId xmlns:a16="http://schemas.microsoft.com/office/drawing/2014/main" id="{55FB95DE-D948-DAC2-2BEB-48638CDBD0B0}"/>
              </a:ext>
            </a:extLst>
          </p:cNvPr>
          <p:cNvSpPr txBox="1">
            <a:spLocks/>
          </p:cNvSpPr>
          <p:nvPr/>
        </p:nvSpPr>
        <p:spPr bwMode="gray">
          <a:xfrm>
            <a:off x="7509888" y="3715801"/>
            <a:ext cx="2157271" cy="5570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18" indent="-180018" algn="l" defTabSz="914491" rtl="0" eaLnBrk="1" latinLnBrk="0" hangingPunct="1">
              <a:spcBef>
                <a:spcPts val="600"/>
              </a:spcBef>
              <a:buFont typeface="ABBvoiceOffice" panose="020D0603020503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036" indent="-180018" algn="l" defTabSz="914491" rtl="0" eaLnBrk="1" latinLnBrk="0" hangingPunct="1">
              <a:spcBef>
                <a:spcPts val="6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defRPr/>
            </a:pPr>
            <a:r>
              <a:rPr lang="en-US" sz="1200" b="1" cap="all" spc="200" dirty="0">
                <a:latin typeface="ABBvoice"/>
                <a:ea typeface="ABBvoice"/>
                <a:cs typeface="ABBvoice"/>
              </a:rPr>
              <a:t>INSTALLATION</a:t>
            </a:r>
            <a:br>
              <a:rPr lang="en-US" sz="1200" b="1" cap="all" spc="200" dirty="0">
                <a:latin typeface="ABBvoice"/>
                <a:ea typeface="ABBvoice"/>
                <a:cs typeface="ABBvoice"/>
              </a:rPr>
            </a:br>
            <a:r>
              <a:rPr lang="en-US" sz="1200" b="1" cap="all" spc="200" dirty="0">
                <a:latin typeface="ABBvoice"/>
                <a:ea typeface="ABBvoice"/>
                <a:cs typeface="ABBvoice"/>
              </a:rPr>
              <a:t>PRODUCTS</a:t>
            </a:r>
          </a:p>
        </p:txBody>
      </p:sp>
      <p:pic>
        <p:nvPicPr>
          <p:cNvPr id="114" name="Picture 113">
            <a:extLst>
              <a:ext uri="{FF2B5EF4-FFF2-40B4-BE49-F238E27FC236}">
                <a16:creationId xmlns:a16="http://schemas.microsoft.com/office/drawing/2014/main" id="{7063F2EF-B1CB-BAB1-B45B-23957FCF59A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7124" y="1929316"/>
            <a:ext cx="2402615" cy="149568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F05C1326-F520-6003-C0CB-41CAAD9B8B0D}"/>
              </a:ext>
            </a:extLst>
          </p:cNvPr>
          <p:cNvGrpSpPr/>
          <p:nvPr/>
        </p:nvGrpSpPr>
        <p:grpSpPr>
          <a:xfrm>
            <a:off x="4877209" y="1927372"/>
            <a:ext cx="2411629" cy="1498262"/>
            <a:chOff x="2433331" y="1651553"/>
            <a:chExt cx="2411629" cy="1498262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881C2DEA-3A6F-0A1D-58C7-5412442DA6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33332" y="1651553"/>
              <a:ext cx="2411628" cy="1498262"/>
            </a:xfrm>
            <a:prstGeom prst="rect">
              <a:avLst/>
            </a:prstGeom>
          </p:spPr>
        </p:pic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0DE81ACD-B751-9680-49B1-9ABBDC0157A2}"/>
                </a:ext>
              </a:extLst>
            </p:cNvPr>
            <p:cNvSpPr/>
            <p:nvPr/>
          </p:nvSpPr>
          <p:spPr bwMode="gray">
            <a:xfrm>
              <a:off x="2433331" y="1651553"/>
              <a:ext cx="2411628" cy="505307"/>
            </a:xfrm>
            <a:prstGeom prst="rect">
              <a:avLst/>
            </a:prstGeom>
            <a:gradFill>
              <a:gsLst>
                <a:gs pos="1724">
                  <a:srgbClr val="38889A">
                    <a:alpha val="54000"/>
                  </a:srgbClr>
                </a:gs>
                <a:gs pos="96000">
                  <a:srgbClr val="38889A">
                    <a:alpha val="0"/>
                  </a:srgb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683B6D6-1E0F-D530-834E-78439A6C68C1}"/>
              </a:ext>
            </a:extLst>
          </p:cNvPr>
          <p:cNvGrpSpPr/>
          <p:nvPr/>
        </p:nvGrpSpPr>
        <p:grpSpPr>
          <a:xfrm>
            <a:off x="9771939" y="1935386"/>
            <a:ext cx="2420061" cy="1492194"/>
            <a:chOff x="9771939" y="1706079"/>
            <a:chExt cx="2420061" cy="1505111"/>
          </a:xfrm>
        </p:grpSpPr>
        <p:pic>
          <p:nvPicPr>
            <p:cNvPr id="117" name="Picture 116" descr="A person wearing a safety vest and goggles&#10;&#10;Description automatically generated">
              <a:extLst>
                <a:ext uri="{FF2B5EF4-FFF2-40B4-BE49-F238E27FC236}">
                  <a16:creationId xmlns:a16="http://schemas.microsoft.com/office/drawing/2014/main" id="{1593FBB8-325B-42C2-AD1A-8611881584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771939" y="1706079"/>
              <a:ext cx="2420061" cy="1505111"/>
            </a:xfrm>
            <a:prstGeom prst="rect">
              <a:avLst/>
            </a:prstGeom>
          </p:spPr>
        </p:pic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F7613A26-CAF9-F793-4B26-46E54EEC6AA6}"/>
                </a:ext>
              </a:extLst>
            </p:cNvPr>
            <p:cNvSpPr/>
            <p:nvPr/>
          </p:nvSpPr>
          <p:spPr bwMode="gray">
            <a:xfrm flipV="1">
              <a:off x="9780372" y="2616544"/>
              <a:ext cx="2411628" cy="594646"/>
            </a:xfrm>
            <a:prstGeom prst="rect">
              <a:avLst/>
            </a:prstGeom>
            <a:gradFill>
              <a:gsLst>
                <a:gs pos="1000">
                  <a:srgbClr val="38889A">
                    <a:alpha val="20000"/>
                  </a:srgbClr>
                </a:gs>
                <a:gs pos="96000">
                  <a:srgbClr val="38889A">
                    <a:alpha val="0"/>
                  </a:srgb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443AB31-09DD-4038-5C70-295A49EB4C6E}"/>
              </a:ext>
            </a:extLst>
          </p:cNvPr>
          <p:cNvGrpSpPr/>
          <p:nvPr/>
        </p:nvGrpSpPr>
        <p:grpSpPr>
          <a:xfrm>
            <a:off x="-1" y="1927372"/>
            <a:ext cx="2385948" cy="1497633"/>
            <a:chOff x="-1" y="1651553"/>
            <a:chExt cx="2385948" cy="1497633"/>
          </a:xfrm>
        </p:grpSpPr>
        <p:pic>
          <p:nvPicPr>
            <p:cNvPr id="3" name="Picture 2" descr="A person wearing a safety jacket and helmet&#10;&#10;Description automatically generated">
              <a:extLst>
                <a:ext uri="{FF2B5EF4-FFF2-40B4-BE49-F238E27FC236}">
                  <a16:creationId xmlns:a16="http://schemas.microsoft.com/office/drawing/2014/main" id="{733050EA-875C-049E-64C5-07DD20601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651553"/>
              <a:ext cx="2385947" cy="1497633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9A5AD32-6646-5323-0E3A-95187D2AEB4C}"/>
                </a:ext>
              </a:extLst>
            </p:cNvPr>
            <p:cNvSpPr/>
            <p:nvPr/>
          </p:nvSpPr>
          <p:spPr bwMode="gray">
            <a:xfrm>
              <a:off x="-1" y="1651553"/>
              <a:ext cx="2385947" cy="755745"/>
            </a:xfrm>
            <a:prstGeom prst="rect">
              <a:avLst/>
            </a:prstGeom>
            <a:gradFill>
              <a:gsLst>
                <a:gs pos="1724">
                  <a:srgbClr val="38889A">
                    <a:alpha val="27000"/>
                  </a:srgbClr>
                </a:gs>
                <a:gs pos="96000">
                  <a:srgbClr val="38889A">
                    <a:alpha val="0"/>
                  </a:srgbClr>
                </a:gs>
              </a:gsLst>
              <a:lin ang="5400000" scaled="0"/>
            </a:gra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US" sz="2000" dirty="0"/>
            </a:p>
          </p:txBody>
        </p:sp>
      </p:grpSp>
      <p:sp>
        <p:nvSpPr>
          <p:cNvPr id="10" name="Date Placeholder 2">
            <a:extLst>
              <a:ext uri="{FF2B5EF4-FFF2-40B4-BE49-F238E27FC236}">
                <a16:creationId xmlns:a16="http://schemas.microsoft.com/office/drawing/2014/main" id="{89A3F421-245C-734A-064D-050458F96CE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45141" y="6593595"/>
            <a:ext cx="1162951" cy="118192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fld id="{802F1124-33BD-4EBB-98B3-2BE08BF7D732}" type="datetime4">
              <a:rPr lang="en-US" smtClean="0"/>
              <a:pPr/>
              <a:t>April 29, 2024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BEEBA1-D557-068D-E49E-50FC913032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499783" y="6593595"/>
            <a:ext cx="8490250" cy="118800"/>
          </a:xfrm>
          <a:prstGeom prst="rect">
            <a:avLst/>
          </a:prstGeom>
        </p:spPr>
        <p:txBody>
          <a:bodyPr lIns="0" tIns="0" rIns="0" bIns="0" anchor="t" anchorCtr="0"/>
          <a:lstStyle>
            <a:lvl9pPr>
              <a:defRPr sz="800"/>
            </a:lvl9pPr>
          </a:lstStyle>
          <a:p>
            <a:pPr lvl="8"/>
            <a:r>
              <a:rPr lang="en-US" dirty="0"/>
              <a:t> 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8FBDE0F-DA83-2F6D-72AE-06FC12C53A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798114" y="6593595"/>
            <a:ext cx="676888" cy="1188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/>
            </a:lvl1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556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261B2A-967C-40D6-8E9E-348AB3A56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57" y="252855"/>
            <a:ext cx="4967287" cy="1254125"/>
          </a:xfrm>
        </p:spPr>
        <p:txBody>
          <a:bodyPr/>
          <a:lstStyle/>
          <a:p>
            <a:b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Distribution Solutions</a:t>
            </a:r>
            <a:endParaRPr lang="en-US" sz="280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277BC-29DE-4FD2-9AAE-6D5363085F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1506980"/>
            <a:ext cx="5265790" cy="3529013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en-GB" sz="2000" b="1" dirty="0"/>
              <a:t>Offerings: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ntrol &amp; Protection Products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Low-voltage Switchgear, Motor Control Centers &amp; Busway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edium-voltage Switchgear (AIS, GIS &amp; secondary GIS)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elays &amp; Digital Systems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ail Infrastructure – Energy storage systems (ESS) &amp; Traction power substation (TPSS)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Solu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CD8503B-E21E-46FF-A072-6525E894AFC9}"/>
              </a:ext>
            </a:extLst>
          </p:cNvPr>
          <p:cNvSpPr txBox="1"/>
          <p:nvPr/>
        </p:nvSpPr>
        <p:spPr bwMode="gray">
          <a:xfrm>
            <a:off x="6099517" y="5978193"/>
            <a:ext cx="5370588" cy="3945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Ontario Line, Toronto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: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UniGear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ZS3.2 medium-voltage switchgears, ZX2 gas-insulated switchgear, ABB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Relion</a:t>
            </a:r>
            <a:r>
              <a:rPr lang="en-US" sz="1400" b="0" i="0" dirty="0">
                <a:solidFill>
                  <a:srgbClr val="262626"/>
                </a:solidFill>
                <a:effectLst/>
                <a:latin typeface="oneabb-font-abbvoice"/>
              </a:rPr>
              <a:t>®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relays</a:t>
            </a:r>
          </a:p>
        </p:txBody>
      </p:sp>
      <p:pic>
        <p:nvPicPr>
          <p:cNvPr id="1026" name="Picture 2" descr="Credit Mosaic Transit Group and Metrolinx">
            <a:extLst>
              <a:ext uri="{FF2B5EF4-FFF2-40B4-BE49-F238E27FC236}">
                <a16:creationId xmlns:a16="http://schemas.microsoft.com/office/drawing/2014/main" id="{856718C8-A580-03E5-C934-666218CD08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12" r="12651"/>
          <a:stretch/>
        </p:blipFill>
        <p:spPr bwMode="auto">
          <a:xfrm>
            <a:off x="6096000" y="0"/>
            <a:ext cx="6096000" cy="5835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ACD9FED-20B7-D74E-F487-E1509A04F55E}"/>
              </a:ext>
            </a:extLst>
          </p:cNvPr>
          <p:cNvSpPr txBox="1"/>
          <p:nvPr/>
        </p:nvSpPr>
        <p:spPr bwMode="gray">
          <a:xfrm>
            <a:off x="6176772" y="121850"/>
            <a:ext cx="63002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Image courtesy: </a:t>
            </a:r>
            <a:r>
              <a:rPr lang="en-US" sz="1200" b="1" dirty="0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osaic Transit Group and </a:t>
            </a:r>
            <a:r>
              <a:rPr lang="en-US" sz="1200" b="1" dirty="0" err="1">
                <a:solidFill>
                  <a:schemeClr val="bg1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etrolinx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pic>
        <p:nvPicPr>
          <p:cNvPr id="7" name="Picture 6" descr="People walking past a train&#10;&#10;Description automatically generated">
            <a:extLst>
              <a:ext uri="{FF2B5EF4-FFF2-40B4-BE49-F238E27FC236}">
                <a16:creationId xmlns:a16="http://schemas.microsoft.com/office/drawing/2014/main" id="{5D4FEAFB-09FF-93DA-F792-943AE2092A2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793" r="24640"/>
          <a:stretch/>
        </p:blipFill>
        <p:spPr>
          <a:xfrm>
            <a:off x="6096001" y="0"/>
            <a:ext cx="6096000" cy="583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3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277BC-29DE-4FD2-9AAE-6D5363085F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1512555"/>
            <a:ext cx="4967288" cy="4465637"/>
          </a:xfrm>
        </p:spPr>
        <p:txBody>
          <a:bodyPr vert="horz" lIns="0" tIns="0" rIns="0" bIns="0" rtlCol="0" anchor="t">
            <a:noAutofit/>
          </a:bodyPr>
          <a:lstStyle/>
          <a:p>
            <a:pPr>
              <a:spcBef>
                <a:spcPts val="500"/>
              </a:spcBef>
            </a:pPr>
            <a:r>
              <a:rPr lang="en-GB" sz="2000" b="1" dirty="0">
                <a:ea typeface="ABBvoice Light" panose="020D0403020503020204" pitchFamily="34" charset="0"/>
                <a:cs typeface="ABBvoice Light" panose="020D0403020503020204" pitchFamily="34" charset="0"/>
              </a:rPr>
              <a:t>Offerings: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fr-CA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Wire &amp; </a:t>
            </a:r>
            <a:r>
              <a:rPr lang="fr-CA" sz="1800" dirty="0" err="1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able</a:t>
            </a:r>
            <a:r>
              <a:rPr lang="fr-CA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management</a:t>
            </a:r>
            <a:endParaRPr lang="en-US" sz="1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Boxes, fittings and meter sockets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able Tray, Metal framing and fastening</a:t>
            </a:r>
          </a:p>
          <a:p>
            <a:pPr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able Protection system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Teck and Tray cable fittings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Rigid conduit systems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Flexible conduit and cable protection system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Liquidtight</a:t>
            </a: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 systems</a:t>
            </a:r>
          </a:p>
          <a:p>
            <a:pPr marR="0" lvl="0">
              <a:spcBef>
                <a:spcPts val="0"/>
              </a:spcBef>
              <a:spcAft>
                <a:spcPts val="0"/>
              </a:spcAft>
            </a:pPr>
            <a:endParaRPr lang="en-US" sz="1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  <a:p>
            <a:pPr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Power Connection &amp; Control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Wire termination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onnectivity and grounding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Switchgear and reclosers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Cable apparatus and accessories</a:t>
            </a:r>
          </a:p>
          <a:p>
            <a:pPr marL="179705" lvl="1" indent="-179705">
              <a:spcBef>
                <a:spcPts val="500"/>
              </a:spcBef>
              <a:buFont typeface="Arial" panose="020B0604020202020204" pitchFamily="34" charset="0"/>
              <a:buChar char="•"/>
            </a:pPr>
            <a:endParaRPr lang="en-GB" sz="1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88AC8F-720F-4D33-83FB-C0573949BAE4}"/>
              </a:ext>
            </a:extLst>
          </p:cNvPr>
          <p:cNvSpPr txBox="1"/>
          <p:nvPr/>
        </p:nvSpPr>
        <p:spPr bwMode="gray">
          <a:xfrm>
            <a:off x="6099517" y="5978192"/>
            <a:ext cx="5855139" cy="620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REM, Montreal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:</a:t>
            </a:r>
            <a:r>
              <a:rPr lang="en-US" sz="1400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T&amp;B Cable Tray Systems® with </a:t>
            </a:r>
            <a:r>
              <a:rPr lang="en-US" sz="1400" dirty="0" err="1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uperstrut</a:t>
            </a:r>
            <a:r>
              <a:rPr lang="en-US" sz="1400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® metal framing and Star Teck® fitting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FFABA4E-F1BA-44F2-89E3-9BDA23F4BD0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25749" r="25749"/>
          <a:stretch/>
        </p:blipFill>
        <p:spPr>
          <a:xfrm>
            <a:off x="6092339" y="0"/>
            <a:ext cx="6099662" cy="58293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C85D54-E08A-41E2-A776-D3CF2FE15FDB}"/>
              </a:ext>
            </a:extLst>
          </p:cNvPr>
          <p:cNvSpPr txBox="1"/>
          <p:nvPr/>
        </p:nvSpPr>
        <p:spPr bwMode="gray">
          <a:xfrm>
            <a:off x="6176772" y="121850"/>
            <a:ext cx="63002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Image courtesy: NASA/JPL – Caltech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F10418C-3B65-DB40-0B39-24A04B1B7A1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64675" y="2112092"/>
            <a:ext cx="231010" cy="23101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F2AF63F-AD80-4C23-794F-117A25C3AF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9334" y="2391546"/>
            <a:ext cx="231010" cy="23101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340739A5-0079-805E-01AC-502EEC5291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02947" y="3197990"/>
            <a:ext cx="231010" cy="23101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2DAF0CF-9BF2-D2E6-8EAC-D1E9D7E960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38969" y="3514363"/>
            <a:ext cx="231010" cy="23101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31074009-471C-7133-DE3D-8BA6EB08B5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555690" y="5114435"/>
            <a:ext cx="231010" cy="231010"/>
          </a:xfrm>
          <a:prstGeom prst="rect">
            <a:avLst/>
          </a:prstGeom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DBBC9631-D6BD-9C91-10A8-DE5AE4835177}"/>
              </a:ext>
            </a:extLst>
          </p:cNvPr>
          <p:cNvSpPr txBox="1">
            <a:spLocks/>
          </p:cNvSpPr>
          <p:nvPr/>
        </p:nvSpPr>
        <p:spPr bwMode="gray">
          <a:xfrm>
            <a:off x="303057" y="252855"/>
            <a:ext cx="4967287" cy="12541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US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nstallation Products</a:t>
            </a:r>
            <a:endParaRPr lang="en-US" dirty="0"/>
          </a:p>
        </p:txBody>
      </p:sp>
      <p:pic>
        <p:nvPicPr>
          <p:cNvPr id="17" name="Picture 16" descr="A train on a road with a city in the background&#10;&#10;Description automatically generated">
            <a:extLst>
              <a:ext uri="{FF2B5EF4-FFF2-40B4-BE49-F238E27FC236}">
                <a16:creationId xmlns:a16="http://schemas.microsoft.com/office/drawing/2014/main" id="{5629B143-BE91-CE17-3697-66DF6068923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154" r="11115"/>
          <a:stretch/>
        </p:blipFill>
        <p:spPr>
          <a:xfrm>
            <a:off x="6092339" y="-12647"/>
            <a:ext cx="6099662" cy="5841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909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room with white pipes and a grey ceiling&#10;&#10;Description automatically generated with medium confidence">
            <a:extLst>
              <a:ext uri="{FF2B5EF4-FFF2-40B4-BE49-F238E27FC236}">
                <a16:creationId xmlns:a16="http://schemas.microsoft.com/office/drawing/2014/main" id="{FF4FE47F-555F-582A-B668-94F92611EF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926" r="-333"/>
          <a:stretch/>
        </p:blipFill>
        <p:spPr>
          <a:xfrm>
            <a:off x="6099516" y="0"/>
            <a:ext cx="6092484" cy="582771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277BC-29DE-4FD2-9AAE-6D5363085F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1506980"/>
            <a:ext cx="5616576" cy="3987864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en-GB" sz="2000" b="1" dirty="0"/>
              <a:t>Offerings: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Building Control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Door Entry Systems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Access Control &amp; Security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DIN-Rail </a:t>
            </a: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products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Distribution Enclosur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5996A7E-3C7D-46F6-937C-76477B79B021}"/>
              </a:ext>
            </a:extLst>
          </p:cNvPr>
          <p:cNvSpPr txBox="1"/>
          <p:nvPr/>
        </p:nvSpPr>
        <p:spPr bwMode="gray">
          <a:xfrm>
            <a:off x="6099517" y="5978193"/>
            <a:ext cx="4000499" cy="3945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McMaster University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, Hamilton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: </a:t>
            </a:r>
            <a:r>
              <a:rPr lang="en-US" sz="1400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ABB Cylon</a:t>
            </a:r>
            <a:r>
              <a:rPr lang="en-US" sz="1400" b="0" i="0" dirty="0">
                <a:solidFill>
                  <a:srgbClr val="262626"/>
                </a:solidFill>
                <a:effectLst/>
                <a:latin typeface="oneabb-font-abbvoice"/>
              </a:rPr>
              <a:t>®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724A2803-7CED-3870-0EFE-E123BDF1D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57" y="252855"/>
            <a:ext cx="4967287" cy="1254125"/>
          </a:xfrm>
        </p:spPr>
        <p:txBody>
          <a:bodyPr/>
          <a:lstStyle/>
          <a:p>
            <a:b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mart Building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43029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66D4D1F4-C38E-4349-8BA3-AAD1E8DE4D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/>
          <a:srcRect l="4179" r="26171"/>
          <a:stretch/>
        </p:blipFill>
        <p:spPr bwMode="auto">
          <a:xfrm>
            <a:off x="6096000" y="0"/>
            <a:ext cx="6092483" cy="582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6277BC-29DE-4FD2-9AAE-6D5363085F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7" y="1506979"/>
            <a:ext cx="5616576" cy="3529013"/>
          </a:xfrm>
        </p:spPr>
        <p:txBody>
          <a:bodyPr/>
          <a:lstStyle/>
          <a:p>
            <a:pPr>
              <a:spcBef>
                <a:spcPts val="800"/>
              </a:spcBef>
            </a:pPr>
            <a:r>
              <a:rPr lang="en-GB" sz="2000" b="1" dirty="0"/>
              <a:t>Offerings: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Breakers &amp; Enclosures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NEMA Enclosed Products 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Motor Starting &amp; Safety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Power Protection </a:t>
            </a:r>
          </a:p>
          <a:p>
            <a:pPr lvl="1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800" dirty="0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Switches &amp; </a:t>
            </a:r>
            <a:r>
              <a:rPr lang="en-GB" sz="1800" dirty="0" err="1">
                <a:latin typeface="ABBvoice Light" panose="020D0403020503020204" pitchFamily="34" charset="0"/>
                <a:ea typeface="ABBvoice Light" panose="020D0403020503020204" pitchFamily="34" charset="0"/>
                <a:cs typeface="ABBvoice Light" panose="020D0403020503020204" pitchFamily="34" charset="0"/>
              </a:rPr>
              <a:t>Fusegear</a:t>
            </a:r>
            <a:endParaRPr lang="en-GB" sz="1800" dirty="0">
              <a:latin typeface="ABBvoice Light" panose="020D0403020503020204" pitchFamily="34" charset="0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CA633D-9A67-40F1-9932-EDFF38734A31}"/>
              </a:ext>
            </a:extLst>
          </p:cNvPr>
          <p:cNvSpPr txBox="1"/>
          <p:nvPr/>
        </p:nvSpPr>
        <p:spPr bwMode="gray">
          <a:xfrm>
            <a:off x="6099517" y="5975350"/>
            <a:ext cx="5584483" cy="397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</a:t>
            </a:r>
            <a:r>
              <a:rPr lang="en-US" sz="1400" b="1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 assembled at Campus Montreal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Solution: </a:t>
            </a:r>
            <a:r>
              <a:rPr lang="en-US" sz="1400" dirty="0" err="1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ReliaGear</a:t>
            </a:r>
            <a:r>
              <a:rPr lang="en-US" sz="1400" b="1" dirty="0"/>
              <a:t>®</a:t>
            </a:r>
            <a:r>
              <a:rPr lang="en-US" sz="1400" dirty="0">
                <a:solidFill>
                  <a:srgbClr val="000000"/>
                </a:solidFill>
                <a:latin typeface="ABBvoice"/>
                <a:ea typeface="ABBvoice Light" panose="020D0403020503020204" pitchFamily="34" charset="0"/>
                <a:cs typeface="ABBvoice Light" panose="020D0403020503020204" pitchFamily="34" charset="0"/>
              </a:rPr>
              <a:t> family solu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BBvoice"/>
              <a:ea typeface="ABBvoice Light" panose="020D0403020503020204" pitchFamily="34" charset="0"/>
              <a:cs typeface="ABBvoice Light" panose="020D0403020503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BC90EA2-BE2F-5551-8F17-96105766D3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2900" y="2313191"/>
            <a:ext cx="231010" cy="231010"/>
          </a:xfrm>
          <a:prstGeom prst="rect">
            <a:avLst/>
          </a:prstGeom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BD8223A6-7064-12EF-C727-AE639E175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057" y="252855"/>
            <a:ext cx="4967287" cy="1254125"/>
          </a:xfrm>
        </p:spPr>
        <p:txBody>
          <a:bodyPr/>
          <a:lstStyle/>
          <a:p>
            <a:b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</a:br>
            <a:r>
              <a:rPr lang="en-US" sz="2800" b="1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Smart Power</a:t>
            </a:r>
            <a:endParaRPr lang="en-US" sz="2800" b="1" dirty="0"/>
          </a:p>
        </p:txBody>
      </p:sp>
      <p:pic>
        <p:nvPicPr>
          <p:cNvPr id="3" name="Picture 2" descr="A solar panels on a roof&#10;&#10;Description automatically generated">
            <a:extLst>
              <a:ext uri="{FF2B5EF4-FFF2-40B4-BE49-F238E27FC236}">
                <a16:creationId xmlns:a16="http://schemas.microsoft.com/office/drawing/2014/main" id="{3EC95722-B32C-43AB-F747-E7FC3E9A6B0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324" r="32980"/>
          <a:stretch/>
        </p:blipFill>
        <p:spPr>
          <a:xfrm>
            <a:off x="6096001" y="-6324"/>
            <a:ext cx="6096000" cy="58419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C6F690-4BEE-B404-142E-168F73D087E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987" r="20674"/>
          <a:stretch/>
        </p:blipFill>
        <p:spPr>
          <a:xfrm>
            <a:off x="6024563" y="0"/>
            <a:ext cx="6163920" cy="5848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2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LmdyR61IsTm65p8TL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b_Gj1A876pEXV8Qbxa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_qfGYZYjzAuHsu4uNo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AfSPyVKklczKJ6ySO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1U8vvInUCsDWSQhrNl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9wnBYPxOftTQ1C9J3u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y6b6rVFD_5b4G6YK_g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_KrIAtwEXWpCYwRs3H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KxyhLfnLZ2BRLezhp6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sS4oYTLKwzVf5a.VpK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lqIv6JaXwjZ6ri79c9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m515R.paJePMw27oAk8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DhHr6InSF3E6XNYtrE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PLBP6lc7NhFDRBtMU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5Mb4bW3UpKY11FwH9G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jTKkuDX9vSubOH_.8H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s8oI5sX3gXKfEYlmZ2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YWsE16LNVYc7LF9Gd.0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Qj7IYueaY.EV4y.33I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gXlTTm7adcL5GNfmiP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uqvGZTbSyvH8QBS6YP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E3DgZX0vLBiVA2nrG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aLTLPkV9Tqbxg4Lo1J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PDch.K77v1p0ZYua5RZ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UrS3BjPKDq4EBiCy6Br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se6vZOHG7qtQW9NxhKq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ztDFDVvV08zddrYmiB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GAQE2NLi9VeKWi4mx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V9keMwAUNUc2QD49Qpr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tAr5vff9tbItass6rK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EIImG1SsHxNfch46_J7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K084uuYFgBAjslk31C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5zR0yHmTns1IpwQYCp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tpSYNxPHimkFfuFIeF7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dNwdlAVbGSZDAQEqFP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Kzkk96egllM8NJEay4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hVr4mFyzKrjqB8dck1I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3Iheb2etJXeqVB_V9t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.fsnIhjtuETPgVoHuf4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AYEceMadxnlGUblBdq1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0XoxNDXZnEaGmuiz6Lp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wWc2ZZQ3MyUJV49Lm7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_RoOYmaZcMWMLnBn74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Mu.0AUuTANUMlElcceh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Nx7WATXGzFqUHtc1tH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94z.NapgqFHc1b7fEGZ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GZKggQGmvQnzS_J.I71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s7CA2RO5DBgAo4IpSQs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ABB Master">
  <a:themeElements>
    <a:clrScheme name="Custom 2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262626"/>
      </a:accent1>
      <a:accent2>
        <a:srgbClr val="6E6E6E"/>
      </a:accent2>
      <a:accent3>
        <a:srgbClr val="A9A9A9"/>
      </a:accent3>
      <a:accent4>
        <a:srgbClr val="D2D2D2"/>
      </a:accent4>
      <a:accent5>
        <a:srgbClr val="F0F0F0"/>
      </a:accent5>
      <a:accent6>
        <a:srgbClr val="FAFAFA"/>
      </a:accent6>
      <a:hlink>
        <a:srgbClr val="D90000"/>
      </a:hlink>
      <a:folHlink>
        <a:srgbClr val="FF000F"/>
      </a:folHlink>
    </a:clrScheme>
    <a:fontScheme name="ABB-Voice">
      <a:majorFont>
        <a:latin typeface="ABBvoice"/>
        <a:ea typeface="ABBvoice"/>
        <a:cs typeface="ABBvoice"/>
      </a:majorFont>
      <a:minorFont>
        <a:latin typeface="ABBvoice"/>
        <a:ea typeface="ABBvoice"/>
        <a:cs typeface="ABBvo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72000" tIns="72000" rIns="72000" bIns="72000" rtlCol="0">
        <a:noAutofit/>
      </a:bodyPr>
      <a:lstStyle>
        <a:defPPr>
          <a:defRPr sz="1400" dirty="0" err="1" smtClean="0"/>
        </a:defPPr>
      </a:lstStyle>
    </a:txDef>
  </a:objectDefaults>
  <a:extraClrSchemeLst/>
  <a:custClrLst>
    <a:custClr name="Blue">
      <a:srgbClr val="004C97"/>
    </a:custClr>
    <a:custClr name="Green">
      <a:srgbClr val="007A33"/>
    </a:custClr>
    <a:custClr name="Yellow">
      <a:srgbClr val="FFD100"/>
    </a:custClr>
    <a:custClr name="Red Grey">
      <a:srgbClr val="817275"/>
    </a:custClr>
    <a:custClr name="Green Grey">
      <a:srgbClr val="6B7173"/>
    </a:custClr>
    <a:custClr name="Blue Grey">
      <a:srgbClr val="5B6F80"/>
    </a:custClr>
    <a:custClr name="Violet Grey">
      <a:srgbClr val="78838E"/>
    </a:custClr>
  </a:custClrLst>
  <a:extLst>
    <a:ext uri="{05A4C25C-085E-4340-85A3-A5531E510DB2}">
      <thm15:themeFamily xmlns:thm15="http://schemas.microsoft.com/office/thememl/2012/main" name="ABB PPT Template New Cover Picture_Test.potx" id="{0A66BA40-D7EE-40BC-96C9-BD8705A7948F}" vid="{4D465BF3-1E41-41EC-9207-5CBB230A5E28}"/>
    </a:ext>
  </a:extLst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1d29222-2c5f-45ad-9aa5-4c2d15fddbe9" xsi:nil="true"/>
    <lcf76f155ced4ddcb4097134ff3c332f xmlns="f9def0e9-a2be-4317-8018-894f657781d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E9619B16565D24684483E15F21A8605" ma:contentTypeVersion="18" ma:contentTypeDescription="Create a new document." ma:contentTypeScope="" ma:versionID="2e7c531371e4dbecbd483a089961b125">
  <xsd:schema xmlns:xsd="http://www.w3.org/2001/XMLSchema" xmlns:xs="http://www.w3.org/2001/XMLSchema" xmlns:p="http://schemas.microsoft.com/office/2006/metadata/properties" xmlns:ns2="f9def0e9-a2be-4317-8018-894f657781d3" xmlns:ns3="8ec53693-69d1-496b-9c01-20b1e26fe95e" xmlns:ns4="71d29222-2c5f-45ad-9aa5-4c2d15fddbe9" targetNamespace="http://schemas.microsoft.com/office/2006/metadata/properties" ma:root="true" ma:fieldsID="0acb81fc887267abb4f54bb8915d93dc" ns2:_="" ns3:_="" ns4:_="">
    <xsd:import namespace="f9def0e9-a2be-4317-8018-894f657781d3"/>
    <xsd:import namespace="8ec53693-69d1-496b-9c01-20b1e26fe95e"/>
    <xsd:import namespace="71d29222-2c5f-45ad-9aa5-4c2d15fddb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def0e9-a2be-4317-8018-894f657781d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3e722c5-bebe-4801-a6ac-67aa35eba08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ec53693-69d1-496b-9c01-20b1e26fe95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d29222-2c5f-45ad-9aa5-4c2d15fddbe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5b2c0560-07ae-4fc1-98fa-c8aba463037d}" ma:internalName="TaxCatchAll" ma:showField="CatchAllData" ma:web="8ec53693-69d1-496b-9c01-20b1e26fe95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B650D1-BDCE-478B-BEF9-4EAD4E52F5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F1A005-6C9B-4110-8818-F9F5354F3406}">
  <ds:schemaRefs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29bc98db-f9b0-4d5a-96f6-4de0d993cde6"/>
    <ds:schemaRef ds:uri="ca6d00d0-b92c-4667-bea3-d091b1f8c56b"/>
    <ds:schemaRef ds:uri="71d29222-2c5f-45ad-9aa5-4c2d15fddbe9"/>
    <ds:schemaRef ds:uri="f9def0e9-a2be-4317-8018-894f657781d3"/>
  </ds:schemaRefs>
</ds:datastoreItem>
</file>

<file path=customXml/itemProps3.xml><?xml version="1.0" encoding="utf-8"?>
<ds:datastoreItem xmlns:ds="http://schemas.openxmlformats.org/officeDocument/2006/customXml" ds:itemID="{2D699CC4-FC82-425B-9885-7E5856B8E1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def0e9-a2be-4317-8018-894f657781d3"/>
    <ds:schemaRef ds:uri="8ec53693-69d1-496b-9c01-20b1e26fe95e"/>
    <ds:schemaRef ds:uri="71d29222-2c5f-45ad-9aa5-4c2d15fddb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372ee9e0-9ce0-4033-a64a-c07073a91ecd}" enabled="0" method="" siteId="{372ee9e0-9ce0-4033-a64a-c07073a91ecd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36</Words>
  <Application>Microsoft Office PowerPoint</Application>
  <PresentationFormat>Widescreen</PresentationFormat>
  <Paragraphs>268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BBvoice</vt:lpstr>
      <vt:lpstr>ABBvoice Light</vt:lpstr>
      <vt:lpstr>ABBvoiceOffice</vt:lpstr>
      <vt:lpstr>Arial</vt:lpstr>
      <vt:lpstr>Lato</vt:lpstr>
      <vt:lpstr>oneabb-font-abbvoice</vt:lpstr>
      <vt:lpstr>Symbol</vt:lpstr>
      <vt:lpstr>3_ABB Master</vt:lpstr>
      <vt:lpstr>think-cell Slide</vt:lpstr>
      <vt:lpstr>Electrifying Canada</vt:lpstr>
      <vt:lpstr>ABB Canada at a glance</vt:lpstr>
      <vt:lpstr>ABB Electrification in Canada: from source-to-socket </vt:lpstr>
      <vt:lpstr>— Electrification in Canada </vt:lpstr>
      <vt:lpstr>Electrification’s five divisions</vt:lpstr>
      <vt:lpstr> Distribution Solutions</vt:lpstr>
      <vt:lpstr>PowerPoint Presentation</vt:lpstr>
      <vt:lpstr> Smart Building</vt:lpstr>
      <vt:lpstr> Smart Power</vt:lpstr>
      <vt:lpstr> Service</vt:lpstr>
      <vt:lpstr>The world needs electrification solutions more than ever</vt:lpstr>
      <vt:lpstr>PowerPoint Presentation</vt:lpstr>
      <vt:lpstr>Sustainability at ABB</vt:lpstr>
      <vt:lpstr>Supporting customers in a wide range of sectors </vt:lpstr>
      <vt:lpstr>Pioneering technology + innovation </vt:lpstr>
      <vt:lpstr>Collaborating to accelerate the energy transition</vt:lpstr>
      <vt:lpstr>Solutions with impact across Canad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ifying the World</dc:title>
  <dc:creator/>
  <cp:lastModifiedBy/>
  <cp:revision>82</cp:revision>
  <dcterms:created xsi:type="dcterms:W3CDTF">2024-02-09T16:01:42Z</dcterms:created>
  <dcterms:modified xsi:type="dcterms:W3CDTF">2024-04-29T17:3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E9619B16565D24684483E15F21A8605</vt:lpwstr>
  </property>
  <property fmtid="{D5CDD505-2E9C-101B-9397-08002B2CF9AE}" pid="3" name="MediaServiceImageTags">
    <vt:lpwstr/>
  </property>
</Properties>
</file>